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mkv" ContentType="video/unknown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93597" r:id="rId4"/>
    <p:sldMasterId id="2147493455" r:id="rId5"/>
  </p:sldMasterIdLst>
  <p:notesMasterIdLst>
    <p:notesMasterId r:id="rId61"/>
  </p:notesMasterIdLst>
  <p:handoutMasterIdLst>
    <p:handoutMasterId r:id="rId62"/>
  </p:handoutMasterIdLst>
  <p:sldIdLst>
    <p:sldId id="256" r:id="rId6"/>
    <p:sldId id="301" r:id="rId7"/>
    <p:sldId id="302" r:id="rId8"/>
    <p:sldId id="303" r:id="rId9"/>
    <p:sldId id="304" r:id="rId10"/>
    <p:sldId id="305" r:id="rId11"/>
    <p:sldId id="306" r:id="rId12"/>
    <p:sldId id="307" r:id="rId13"/>
    <p:sldId id="308" r:id="rId14"/>
    <p:sldId id="309" r:id="rId15"/>
    <p:sldId id="310" r:id="rId16"/>
    <p:sldId id="311" r:id="rId17"/>
    <p:sldId id="312" r:id="rId18"/>
    <p:sldId id="313" r:id="rId19"/>
    <p:sldId id="314" r:id="rId20"/>
    <p:sldId id="315" r:id="rId21"/>
    <p:sldId id="316" r:id="rId22"/>
    <p:sldId id="317" r:id="rId23"/>
    <p:sldId id="318" r:id="rId24"/>
    <p:sldId id="320" r:id="rId25"/>
    <p:sldId id="323" r:id="rId26"/>
    <p:sldId id="324" r:id="rId27"/>
    <p:sldId id="325" r:id="rId28"/>
    <p:sldId id="327" r:id="rId29"/>
    <p:sldId id="328" r:id="rId30"/>
    <p:sldId id="329" r:id="rId31"/>
    <p:sldId id="368" r:id="rId32"/>
    <p:sldId id="330" r:id="rId33"/>
    <p:sldId id="366" r:id="rId34"/>
    <p:sldId id="331" r:id="rId35"/>
    <p:sldId id="367" r:id="rId36"/>
    <p:sldId id="359" r:id="rId37"/>
    <p:sldId id="360" r:id="rId38"/>
    <p:sldId id="333" r:id="rId39"/>
    <p:sldId id="337" r:id="rId40"/>
    <p:sldId id="339" r:id="rId41"/>
    <p:sldId id="341" r:id="rId42"/>
    <p:sldId id="343" r:id="rId43"/>
    <p:sldId id="344" r:id="rId44"/>
    <p:sldId id="345" r:id="rId45"/>
    <p:sldId id="361" r:id="rId46"/>
    <p:sldId id="347" r:id="rId47"/>
    <p:sldId id="348" r:id="rId48"/>
    <p:sldId id="362" r:id="rId49"/>
    <p:sldId id="350" r:id="rId50"/>
    <p:sldId id="355" r:id="rId51"/>
    <p:sldId id="349" r:id="rId52"/>
    <p:sldId id="357" r:id="rId53"/>
    <p:sldId id="358" r:id="rId54"/>
    <p:sldId id="352" r:id="rId55"/>
    <p:sldId id="353" r:id="rId56"/>
    <p:sldId id="354" r:id="rId57"/>
    <p:sldId id="363" r:id="rId58"/>
    <p:sldId id="364" r:id="rId59"/>
    <p:sldId id="299" r:id="rId60"/>
  </p:sldIdLst>
  <p:sldSz cx="9144000" cy="6858000" type="screen4x3"/>
  <p:notesSz cx="7023100" cy="9309100"/>
  <p:custDataLst>
    <p:tags r:id="rId63"/>
  </p:custDataLst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  <p15:guide id="3" pos="2880" userDrawn="1">
          <p15:clr>
            <a:srgbClr val="A4A3A4"/>
          </p15:clr>
        </p15:guide>
        <p15:guide id="4" orient="horz" pos="4319" userDrawn="1">
          <p15:clr>
            <a:srgbClr val="A4A3A4"/>
          </p15:clr>
        </p15:guide>
        <p15:guide id="5" userDrawn="1">
          <p15:clr>
            <a:srgbClr val="A4A3A4"/>
          </p15:clr>
        </p15:guide>
        <p15:guide id="6" orient="horz" pos="3808" userDrawn="1">
          <p15:clr>
            <a:srgbClr val="A4A3A4"/>
          </p15:clr>
        </p15:guide>
        <p15:guide id="7" orient="horz" pos="36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lang, Pavel" initials="KP" lastIdx="8" clrIdx="0">
    <p:extLst>
      <p:ext uri="{19B8F6BF-5375-455C-9EA6-DF929625EA0E}">
        <p15:presenceInfo xmlns:p15="http://schemas.microsoft.com/office/powerpoint/2012/main" userId="S-1-5-21-3588447096-1463914-869570945-832978" providerId="AD"/>
      </p:ext>
    </p:extLst>
  </p:cmAuthor>
  <p:cmAuthor id="2" name="Gomola, Alojz" initials="GA" lastIdx="17" clrIdx="1">
    <p:extLst>
      <p:ext uri="{19B8F6BF-5375-455C-9EA6-DF929625EA0E}">
        <p15:presenceInfo xmlns:p15="http://schemas.microsoft.com/office/powerpoint/2012/main" userId="S-1-5-21-3588447096-1463914-869570945-143220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EE3124"/>
    <a:srgbClr val="7F7F7F"/>
    <a:srgbClr val="595959"/>
    <a:srgbClr val="E71D1D"/>
    <a:srgbClr val="EB2819"/>
    <a:srgbClr val="E4202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5996" autoAdjust="0"/>
  </p:normalViewPr>
  <p:slideViewPr>
    <p:cSldViewPr snapToGrid="0" snapToObjects="1">
      <p:cViewPr varScale="1">
        <p:scale>
          <a:sx n="87" d="100"/>
          <a:sy n="87" d="100"/>
        </p:scale>
        <p:origin x="1315" y="62"/>
      </p:cViewPr>
      <p:guideLst>
        <p:guide orient="horz" pos="1620"/>
        <p:guide orient="horz" pos="2160"/>
        <p:guide pos="2880"/>
        <p:guide orient="horz" pos="4319"/>
        <p:guide/>
        <p:guide orient="horz" pos="3808"/>
        <p:guide orient="horz" pos="3611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napToObjects="1">
      <p:cViewPr varScale="1">
        <p:scale>
          <a:sx n="81" d="100"/>
          <a:sy n="81" d="100"/>
        </p:scale>
        <p:origin x="3858" y="10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50" Type="http://schemas.openxmlformats.org/officeDocument/2006/relationships/slide" Target="slides/slide45.xml"/><Relationship Id="rId55" Type="http://schemas.openxmlformats.org/officeDocument/2006/relationships/slide" Target="slides/slide50.xml"/><Relationship Id="rId63" Type="http://schemas.openxmlformats.org/officeDocument/2006/relationships/tags" Target="tags/tag1.xml"/><Relationship Id="rId68" Type="http://schemas.openxmlformats.org/officeDocument/2006/relationships/tableStyles" Target="tableStyles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slide" Target="slides/slide48.xml"/><Relationship Id="rId58" Type="http://schemas.openxmlformats.org/officeDocument/2006/relationships/slide" Target="slides/slide53.xml"/><Relationship Id="rId66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slide" Target="slides/slide52.xml"/><Relationship Id="rId61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60" Type="http://schemas.openxmlformats.org/officeDocument/2006/relationships/slide" Target="slides/slide55.xml"/><Relationship Id="rId65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56" Type="http://schemas.openxmlformats.org/officeDocument/2006/relationships/slide" Target="slides/slide51.xml"/><Relationship Id="rId64" Type="http://schemas.openxmlformats.org/officeDocument/2006/relationships/commentAuthors" Target="commentAuthors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59" Type="http://schemas.openxmlformats.org/officeDocument/2006/relationships/slide" Target="slides/slide54.xml"/><Relationship Id="rId67" Type="http://schemas.openxmlformats.org/officeDocument/2006/relationships/theme" Target="theme/theme1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slide" Target="slides/slide49.xml"/><Relationship Id="rId62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7.xml"/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57D4563-C991-442D-B3F0-C1A43D578CC3}" type="datetimeFigureOut">
              <a:rPr lang="en-US"/>
              <a:pPr>
                <a:defRPr/>
              </a:pPr>
              <a:t>2018-08-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 sz="700" dirty="0">
                <a:solidFill>
                  <a:srgbClr val="7F7F7F"/>
                </a:solidFill>
                <a:latin typeface="Arial" panose="020B0604020202020204" pitchFamily="34" charset="0"/>
              </a:rPr>
              <a:t>Honeywell Intern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D0CD540-90A1-4DF6-948E-FB2F838FE87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971187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6.xml"/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BA278FD8-54E5-4C24-8F1E-334DBC98CFA6}" type="datetimeFigureOut">
              <a:rPr lang="en-US"/>
              <a:pPr>
                <a:defRPr/>
              </a:pPr>
              <a:t>2018-08-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21188"/>
            <a:ext cx="5619750" cy="4189412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dirty="0"/>
              <a:t>Honeywell Intern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7F80455-CF11-4877-AD7A-70AE5CB739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6841516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ule engine then selects goal of avoidance and Next decision point (There is primitive hard-coded</a:t>
            </a:r>
            <a:r>
              <a:rPr lang="en-US" baseline="0" dirty="0"/>
              <a:t> set of rules</a:t>
            </a:r>
            <a:r>
              <a:rPr lang="en-US" dirty="0"/>
              <a:t>)</a:t>
            </a:r>
          </a:p>
          <a:p>
            <a:endParaRPr lang="en-US" dirty="0"/>
          </a:p>
          <a:p>
            <a:r>
              <a:rPr lang="en-US" dirty="0"/>
              <a:t>Avoidance grid have been fully implemented and tested for simple plane model in Matlab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763557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each set is blended and pruned in avoidance grid , giving us estimation of reachable set in constrained spa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136597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each set is blended and pruned in avoidance grid , giving us estimation of reachable set in constrained spa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126309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ule engine then selects goal of avoidance and Next decision point (There is primitive hard-coded</a:t>
            </a:r>
            <a:r>
              <a:rPr lang="en-US" baseline="0" dirty="0"/>
              <a:t> set of rules</a:t>
            </a:r>
            <a:r>
              <a:rPr lang="en-US" dirty="0"/>
              <a:t>)</a:t>
            </a:r>
          </a:p>
          <a:p>
            <a:endParaRPr lang="en-US" dirty="0"/>
          </a:p>
          <a:p>
            <a:r>
              <a:rPr lang="en-US" dirty="0"/>
              <a:t>Avoidance grid have been fully implemented and tested for simple plane model in Matlab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476630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ule engine then selects goal of avoidance and Next decision point (There is primitive hard-coded</a:t>
            </a:r>
            <a:r>
              <a:rPr lang="en-US" baseline="0" dirty="0"/>
              <a:t> set of rules</a:t>
            </a:r>
            <a:r>
              <a:rPr lang="en-US" dirty="0"/>
              <a:t>)</a:t>
            </a:r>
          </a:p>
          <a:p>
            <a:endParaRPr lang="en-US" dirty="0"/>
          </a:p>
          <a:p>
            <a:r>
              <a:rPr lang="en-US" dirty="0"/>
              <a:t>Avoidance grid have been fully implemented and tested for simple plane model in Matlab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16882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Vehicle control</a:t>
            </a:r>
            <a:r>
              <a:rPr lang="en-US" baseline="0" dirty="0"/>
              <a:t> can be standard closed loop control</a:t>
            </a:r>
          </a:p>
          <a:p>
            <a:r>
              <a:rPr lang="en-US" baseline="0" dirty="0"/>
              <a:t>This has been implemented as prototype in Matlab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119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ovement automaton is interface</a:t>
            </a:r>
            <a:r>
              <a:rPr lang="en-US" baseline="0" dirty="0"/>
              <a:t> acting between conventional control principles and discrete command chain</a:t>
            </a:r>
          </a:p>
          <a:p>
            <a:endParaRPr lang="en-US" baseline="0" dirty="0"/>
          </a:p>
          <a:p>
            <a:r>
              <a:rPr lang="en-US" baseline="0" dirty="0" err="1"/>
              <a:t>eg</a:t>
            </a:r>
            <a:r>
              <a:rPr lang="en-US" baseline="0" dirty="0"/>
              <a:t>. Move left 2s, move </a:t>
            </a:r>
            <a:r>
              <a:rPr lang="en-US" baseline="0" dirty="0" err="1"/>
              <a:t>strainght</a:t>
            </a:r>
            <a:r>
              <a:rPr lang="en-US" baseline="0" dirty="0"/>
              <a:t> 2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20157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reach set</a:t>
            </a:r>
            <a:r>
              <a:rPr lang="en-US" baseline="0" dirty="0"/>
              <a:t> using my method (red) in Field of vision (aquamarine)</a:t>
            </a:r>
          </a:p>
          <a:p>
            <a:r>
              <a:rPr lang="en-US" baseline="0" dirty="0"/>
              <a:t>There has been implementation of prototype in Matlab (Deterministic version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191570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simple mission with 4 waypoints,</a:t>
            </a:r>
            <a:r>
              <a:rPr lang="en-US" baseline="0" dirty="0"/>
              <a:t> implemented as Matlab simul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5427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ere</a:t>
            </a:r>
            <a:r>
              <a:rPr lang="en-US" baseline="0" dirty="0"/>
              <a:t> is an example of ADS-B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025479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</a:t>
            </a:r>
            <a:r>
              <a:rPr lang="en-US" baseline="0" dirty="0"/>
              <a:t> the picture you can see example of Flash Lidar scanned area over trajector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299715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ere is</a:t>
            </a:r>
            <a:r>
              <a:rPr lang="en-US" baseline="0" dirty="0"/>
              <a:t> example of cuboid coatings (dark blue) with virtual convex coating (magenta, cyan, yellow, red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630751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each set is blended and pruned in avoidance grid , giving us estimation of reachable set in constrained spa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4878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ulti-Imag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2138363" y="6009007"/>
            <a:ext cx="0" cy="492125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1"/>
          <p:cNvSpPr>
            <a:spLocks noGrp="1"/>
          </p:cNvSpPr>
          <p:nvPr>
            <p:ph type="body" sz="quarter" idx="13" hasCustomPrompt="1"/>
          </p:nvPr>
        </p:nvSpPr>
        <p:spPr>
          <a:xfrm>
            <a:off x="2147888" y="6221095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Subtitle if Needed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76226" y="6220145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Dat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6226" y="5959797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 baseline="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er Name</a:t>
            </a:r>
          </a:p>
        </p:txBody>
      </p:sp>
      <p:sp>
        <p:nvSpPr>
          <p:cNvPr id="15" name="Text Placeholder 1"/>
          <p:cNvSpPr>
            <a:spLocks noGrp="1"/>
          </p:cNvSpPr>
          <p:nvPr>
            <p:ph type="body" sz="quarter" idx="15" hasCustomPrompt="1"/>
          </p:nvPr>
        </p:nvSpPr>
        <p:spPr>
          <a:xfrm>
            <a:off x="2147888" y="5928398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800" b="1">
                <a:solidFill>
                  <a:srgbClr val="000000"/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8725858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3344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0" y="1193483"/>
            <a:ext cx="8046720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68345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96772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5929893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 bwMode="auto">
          <a:xfrm flipH="1">
            <a:off x="640080" y="3624058"/>
            <a:ext cx="7863840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9" name="Content Placeholder 4"/>
          <p:cNvSpPr>
            <a:spLocks noGrp="1"/>
          </p:cNvSpPr>
          <p:nvPr>
            <p:ph sz="quarter" idx="15"/>
          </p:nvPr>
        </p:nvSpPr>
        <p:spPr>
          <a:xfrm>
            <a:off x="532341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6"/>
          </p:nvPr>
        </p:nvSpPr>
        <p:spPr>
          <a:xfrm>
            <a:off x="4686852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137652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352" y="357190"/>
            <a:ext cx="7680960" cy="4984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C51A5A2-BC59-4A6D-A7BD-C313B1F7F82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16208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rand-Promise_editable_HORZ_ol_13x9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64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079972"/>
            <a:ext cx="9143999" cy="498475"/>
          </a:xfr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44279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13" Type="http://schemas.openxmlformats.org/officeDocument/2006/relationships/image" Target="../media/image8.jpeg"/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12" Type="http://schemas.openxmlformats.org/officeDocument/2006/relationships/image" Target="../media/image7.jp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11" Type="http://schemas.openxmlformats.org/officeDocument/2006/relationships/image" Target="../media/image6.jpe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5.jpeg"/><Relationship Id="rId4" Type="http://schemas.openxmlformats.org/officeDocument/2006/relationships/tags" Target="../tags/tag2.xml"/><Relationship Id="rId9" Type="http://schemas.openxmlformats.org/officeDocument/2006/relationships/image" Target="../media/image4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13" Type="http://schemas.openxmlformats.org/officeDocument/2006/relationships/image" Target="../media/image10.png"/><Relationship Id="rId3" Type="http://schemas.openxmlformats.org/officeDocument/2006/relationships/slideLayout" Target="../slideLayouts/slideLayout4.xml"/><Relationship Id="rId7" Type="http://schemas.openxmlformats.org/officeDocument/2006/relationships/theme" Target="../theme/theme2.xml"/><Relationship Id="rId12" Type="http://schemas.openxmlformats.org/officeDocument/2006/relationships/image" Target="../media/image9.png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6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5.xml"/><Relationship Id="rId9" Type="http://schemas.openxmlformats.org/officeDocument/2006/relationships/tags" Target="../tags/tag3.xml"/><Relationship Id="rId14" Type="http://schemas.openxmlformats.org/officeDocument/2006/relationships/image" Target="../media/image11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7967324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7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4" descr="Corner-01 copy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4332923"/>
            <a:ext cx="9144000" cy="2303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80755" y="6042317"/>
            <a:ext cx="1504536" cy="434925"/>
          </a:xfrm>
          <a:prstGeom prst="rect">
            <a:avLst/>
          </a:prstGeom>
        </p:spPr>
      </p:pic>
      <p:pic>
        <p:nvPicPr>
          <p:cNvPr id="15" name="Picture 5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01" t="8743" r="4581"/>
          <a:stretch>
            <a:fillRect/>
          </a:stretch>
        </p:blipFill>
        <p:spPr bwMode="auto">
          <a:xfrm>
            <a:off x="1" y="-28514"/>
            <a:ext cx="3481388" cy="56847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6"/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8264" y="1973265"/>
            <a:ext cx="2733675" cy="3665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7" descr="Cover - Airplane.jpg"/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3464" y="-7938"/>
            <a:ext cx="5570537" cy="1905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3463" y="2021816"/>
            <a:ext cx="2749627" cy="1902822"/>
          </a:xfrm>
          <a:prstGeom prst="rect">
            <a:avLst/>
          </a:prstGeom>
        </p:spPr>
      </p:pic>
      <p:pic>
        <p:nvPicPr>
          <p:cNvPr id="26" name="Picture 25" descr="494348113_low.jpg"/>
          <p:cNvPicPr>
            <a:picLocks noChangeAspect="1"/>
          </p:cNvPicPr>
          <p:nvPr userDrawn="1"/>
        </p:nvPicPr>
        <p:blipFill>
          <a:blip r:embed="rId13" cstate="screen"/>
          <a:srcRect/>
          <a:stretch>
            <a:fillRect/>
          </a:stretch>
        </p:blipFill>
        <p:spPr>
          <a:xfrm>
            <a:off x="3573464" y="4052744"/>
            <a:ext cx="2751136" cy="1587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311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598" r:id="rId1"/>
  </p:sldLayoutIdLst>
  <p:hf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9pPr>
    </p:titleStyle>
    <p:bodyStyle>
      <a:lvl1pPr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defRPr kern="1200">
          <a:solidFill>
            <a:schemeClr val="tx1"/>
          </a:solidFill>
          <a:latin typeface="Helvetica 55 Roman"/>
          <a:ea typeface="Helvetica 55 Roman"/>
          <a:cs typeface="Helvetica 55 Roman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Helvetica Neue"/>
          <a:ea typeface="Helvetica Neue"/>
          <a:cs typeface="Helvetica Neue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SzPct val="90000"/>
        <a:buFont typeface="Courier New" panose="02070309020205020404" pitchFamily="49" charset="0"/>
        <a:buChar char="o"/>
        <a:defRPr sz="1400" kern="1200">
          <a:solidFill>
            <a:schemeClr val="tx1"/>
          </a:solidFill>
          <a:latin typeface="Helvetica Neue"/>
          <a:ea typeface="Helvetica Neue"/>
          <a:cs typeface="Helvetica Neue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718301416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9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3864" y="2"/>
            <a:ext cx="1810137" cy="1810137"/>
          </a:xfrm>
          <a:prstGeom prst="rect">
            <a:avLst/>
          </a:prstGeom>
        </p:spPr>
      </p:pic>
      <p:sp>
        <p:nvSpPr>
          <p:cNvPr id="3077" name="Title Placeholder 1"/>
          <p:cNvSpPr>
            <a:spLocks noGrp="1"/>
          </p:cNvSpPr>
          <p:nvPr>
            <p:ph type="title"/>
          </p:nvPr>
        </p:nvSpPr>
        <p:spPr bwMode="auto">
          <a:xfrm>
            <a:off x="530352" y="357190"/>
            <a:ext cx="768096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37588" y="2"/>
            <a:ext cx="506413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2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E08EDED3-7124-4562-BC95-43C8B5E7D05F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9270048" y="1297125"/>
            <a:ext cx="182881" cy="4762033"/>
            <a:chOff x="-186689" y="1297123"/>
            <a:chExt cx="182881" cy="4762033"/>
          </a:xfrm>
        </p:grpSpPr>
        <p:cxnSp>
          <p:nvCxnSpPr>
            <p:cNvPr id="18" name="Straight Connector 17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4"/>
          <p:cNvGrpSpPr/>
          <p:nvPr userDrawn="1"/>
        </p:nvGrpSpPr>
        <p:grpSpPr>
          <a:xfrm>
            <a:off x="833437" y="6998401"/>
            <a:ext cx="7406640" cy="182880"/>
            <a:chOff x="833437" y="-184099"/>
            <a:chExt cx="10529888" cy="182880"/>
          </a:xfrm>
        </p:grpSpPr>
        <p:cxnSp>
          <p:nvCxnSpPr>
            <p:cNvPr id="16" name="Straight Connector 15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oup 24"/>
          <p:cNvGrpSpPr/>
          <p:nvPr userDrawn="1"/>
        </p:nvGrpSpPr>
        <p:grpSpPr>
          <a:xfrm>
            <a:off x="-309382" y="1297125"/>
            <a:ext cx="182881" cy="4762033"/>
            <a:chOff x="-186689" y="1297123"/>
            <a:chExt cx="182881" cy="4762033"/>
          </a:xfrm>
        </p:grpSpPr>
        <p:cxnSp>
          <p:nvCxnSpPr>
            <p:cNvPr id="26" name="Straight Connector 25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 27"/>
          <p:cNvGrpSpPr/>
          <p:nvPr userDrawn="1"/>
        </p:nvGrpSpPr>
        <p:grpSpPr>
          <a:xfrm>
            <a:off x="833437" y="-313168"/>
            <a:ext cx="7406640" cy="182880"/>
            <a:chOff x="833437" y="-184099"/>
            <a:chExt cx="10529888" cy="182880"/>
          </a:xfrm>
        </p:grpSpPr>
        <p:cxnSp>
          <p:nvCxnSpPr>
            <p:cNvPr id="29" name="Straight Connector 28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67931" y="6473970"/>
            <a:ext cx="1230413" cy="342253"/>
          </a:xfrm>
          <a:prstGeom prst="rect">
            <a:avLst/>
          </a:prstGeom>
        </p:spPr>
      </p:pic>
      <p:sp>
        <p:nvSpPr>
          <p:cNvPr id="24" name="Rectangle 23"/>
          <p:cNvSpPr>
            <a:spLocks noChangeArrowheads="1"/>
          </p:cNvSpPr>
          <p:nvPr userDrawn="1"/>
        </p:nvSpPr>
        <p:spPr bwMode="auto">
          <a:xfrm>
            <a:off x="-71774" y="6505789"/>
            <a:ext cx="7082388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© 2018 by Honeywell International Inc. All rights reserved.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MarineUAS</a:t>
            </a:r>
            <a:r>
              <a:rPr lang="en-US" altLang="en-US" sz="700" baseline="0" dirty="0">
                <a:solidFill>
                  <a:schemeClr val="bg2"/>
                </a:solidFill>
                <a:cs typeface="Arial" panose="020B0604020202020204" pitchFamily="34" charset="0"/>
              </a:rPr>
              <a:t> - </a:t>
            </a: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Innovative Training Network on Autonomous Unmanned Aerial Systems for Marine and Coastal Monitoring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This project has received funding from European Union`s Horizon 2020 research and innovation programme, under the Marie Sklodowska-Curie grant agreement No 642153 </a:t>
            </a:r>
          </a:p>
        </p:txBody>
      </p: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986" y="6385165"/>
            <a:ext cx="1251554" cy="32837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3575" r:id="rId1"/>
    <p:sldLayoutId id="2147493587" r:id="rId2"/>
    <p:sldLayoutId id="2147493588" r:id="rId3"/>
    <p:sldLayoutId id="2147493576" r:id="rId4"/>
    <p:sldLayoutId id="2147493577" r:id="rId5"/>
    <p:sldLayoutId id="2147493594" r:id="rId6"/>
  </p:sldLayoutIdLs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600" b="1" kern="1200" dirty="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5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33.JP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commons.wikimedia.org/wiki/File:Le_restaurant_V%C3%A9ry_-_ext.png" TargetMode="External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7.png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mkv"/><Relationship Id="rId1" Type="http://schemas.microsoft.com/office/2007/relationships/media" Target="../media/media1.mkv"/><Relationship Id="rId4" Type="http://schemas.openxmlformats.org/officeDocument/2006/relationships/image" Target="../media/image48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2.mkv"/><Relationship Id="rId1" Type="http://schemas.microsoft.com/office/2007/relationships/media" Target="../media/media2.mkv"/><Relationship Id="rId4" Type="http://schemas.openxmlformats.org/officeDocument/2006/relationships/image" Target="../media/image49.png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0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3.mkv"/><Relationship Id="rId1" Type="http://schemas.microsoft.com/office/2007/relationships/media" Target="../media/media3.mkv"/><Relationship Id="rId4" Type="http://schemas.openxmlformats.org/officeDocument/2006/relationships/image" Target="../media/image52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70.png"/><Relationship Id="rId4" Type="http://schemas.openxmlformats.org/officeDocument/2006/relationships/image" Target="../media/image460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0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4.mkv"/><Relationship Id="rId1" Type="http://schemas.microsoft.com/office/2007/relationships/media" Target="../media/media4.mkv"/><Relationship Id="rId4" Type="http://schemas.openxmlformats.org/officeDocument/2006/relationships/image" Target="../media/image54.png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5.mkv"/><Relationship Id="rId1" Type="http://schemas.microsoft.com/office/2007/relationships/media" Target="../media/media5.mkv"/><Relationship Id="rId4" Type="http://schemas.openxmlformats.org/officeDocument/2006/relationships/image" Target="../media/image55.png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6.mkv"/><Relationship Id="rId1" Type="http://schemas.microsoft.com/office/2007/relationships/media" Target="../media/media6.mkv"/><Relationship Id="rId4" Type="http://schemas.openxmlformats.org/officeDocument/2006/relationships/image" Target="../media/image56.png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2.png"/><Relationship Id="rId4" Type="http://schemas.openxmlformats.org/officeDocument/2006/relationships/image" Target="../media/image61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2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2.pn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7.mkv"/><Relationship Id="rId1" Type="http://schemas.microsoft.com/office/2007/relationships/media" Target="../media/media7.mkv"/><Relationship Id="rId4" Type="http://schemas.openxmlformats.org/officeDocument/2006/relationships/image" Target="../media/image58.png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jpeg"/><Relationship Id="rId2" Type="http://schemas.openxmlformats.org/officeDocument/2006/relationships/image" Target="../media/image60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4.jpeg"/><Relationship Id="rId4" Type="http://schemas.openxmlformats.org/officeDocument/2006/relationships/image" Target="../media/image63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Help to keep your UAS safe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29</a:t>
            </a:r>
            <a:r>
              <a:rPr lang="en-US" baseline="30000" dirty="0"/>
              <a:t>th</a:t>
            </a:r>
            <a:r>
              <a:rPr lang="en-US" dirty="0"/>
              <a:t> August 2018</a:t>
            </a:r>
          </a:p>
          <a:p>
            <a:r>
              <a:rPr lang="en-US" dirty="0"/>
              <a:t>Brno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Alojz Gomola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Obstacle avoidance based on Reach Sets</a:t>
            </a:r>
          </a:p>
        </p:txBody>
      </p:sp>
    </p:spTree>
    <p:extLst>
      <p:ext uri="{BB962C8B-B14F-4D97-AF65-F5344CB8AC3E}">
        <p14:creationId xmlns:p14="http://schemas.microsoft.com/office/powerpoint/2010/main" val="61391947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nally enjoy a Pint with my friends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0352" y="856420"/>
            <a:ext cx="5020442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2] Evolving world:</a:t>
            </a:r>
          </a:p>
          <a:p>
            <a:pPr marL="342900" indent="-342900"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ptimal paths in given FOVs</a:t>
            </a:r>
          </a:p>
          <a:p>
            <a:pPr marL="342900" indent="-342900"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Evolving world cause suboptimal paths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(Note that path [1] is different)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705341" y="4825963"/>
            <a:ext cx="2207818" cy="1021556"/>
          </a:xfrm>
          <a:prstGeom prst="wedgeRoundRectCallout">
            <a:avLst>
              <a:gd name="adj1" fmla="val -101899"/>
              <a:gd name="adj2" fmla="val 261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r destination is at the right side of the road</a:t>
            </a:r>
          </a:p>
        </p:txBody>
      </p:sp>
    </p:spTree>
    <p:extLst>
      <p:ext uri="{BB962C8B-B14F-4D97-AF65-F5344CB8AC3E}">
        <p14:creationId xmlns:p14="http://schemas.microsoft.com/office/powerpoint/2010/main" val="72013805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You are NOT alone on the streets !</a:t>
            </a:r>
          </a:p>
        </p:txBody>
      </p:sp>
      <p:pic>
        <p:nvPicPr>
          <p:cNvPr id="9" name="Content Placeholder 8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4827588" y="1112623"/>
            <a:ext cx="3810000" cy="228600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  <p:sp>
        <p:nvSpPr>
          <p:cNvPr id="11" name="Rectangle: Rounded Corners 10"/>
          <p:cNvSpPr/>
          <p:nvPr/>
        </p:nvSpPr>
        <p:spPr>
          <a:xfrm>
            <a:off x="530352" y="955492"/>
            <a:ext cx="3912859" cy="2553891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3] Adversarial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hile you are moving to Restaurant you need  to be cautious about:</a:t>
            </a: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arriages and Other people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Because hitting them can cause damage to you or other people or property</a:t>
            </a:r>
          </a:p>
        </p:txBody>
      </p:sp>
      <p:sp>
        <p:nvSpPr>
          <p:cNvPr id="13" name="Rectangle: Rounded Corners 12"/>
          <p:cNvSpPr/>
          <p:nvPr/>
        </p:nvSpPr>
        <p:spPr>
          <a:xfrm>
            <a:off x="4724729" y="3654828"/>
            <a:ext cx="3912859" cy="22474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3] Adversarial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need to implement:</a:t>
            </a: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active obstacle avoidance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can assume: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truder Posi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truder Velocity (vector)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wn position and velocity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0352" y="3654828"/>
            <a:ext cx="3912859" cy="2781798"/>
          </a:xfrm>
          <a:prstGeom prst="rect">
            <a:avLst/>
          </a:prstGeom>
        </p:spPr>
      </p:pic>
      <p:pic>
        <p:nvPicPr>
          <p:cNvPr id="20482" name="Picture 2" descr="VÃ½sledok vyhÄ¾adÃ¡vania obrÃ¡zkov pre dopyt street crowd old time london drawin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19" t="43680" r="42116"/>
          <a:stretch/>
        </p:blipFill>
        <p:spPr bwMode="auto">
          <a:xfrm>
            <a:off x="4827589" y="959754"/>
            <a:ext cx="3810000" cy="24388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7779934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ultiple source of information – Data Fu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  <p:sp>
        <p:nvSpPr>
          <p:cNvPr id="5" name="AutoShape 2" descr="Výsledok vyhľadávania obrázkov pre dopyt man with map"/>
          <p:cNvSpPr>
            <a:spLocks noChangeAspect="1" noChangeArrowheads="1"/>
          </p:cNvSpPr>
          <p:nvPr/>
        </p:nvSpPr>
        <p:spPr bwMode="auto">
          <a:xfrm>
            <a:off x="9495606" y="427407"/>
            <a:ext cx="116768" cy="116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1108726"/>
            <a:ext cx="4415134" cy="2247424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4] Data fusion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are well prepared, you ask locals, you got map, you can see a world, but to make decision you need to process that information:</a:t>
            </a: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ata Fusion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s there to help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5076007" y="3910910"/>
            <a:ext cx="3561582" cy="1940957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4] Data Fusion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need to implement:</a:t>
            </a: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s under uncertainty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termine what is truth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onsider all informa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ank your sources worth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/>
          <a:srcRect l="26023" r="34504" b="50150"/>
          <a:stretch/>
        </p:blipFill>
        <p:spPr>
          <a:xfrm>
            <a:off x="1275939" y="3910910"/>
            <a:ext cx="2733353" cy="229711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76007" y="1193482"/>
            <a:ext cx="3503053" cy="2511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485749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gilantes &amp; Grannies – Static restriction are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  <p:sp>
        <p:nvSpPr>
          <p:cNvPr id="7" name="Rectangle: Rounded Corners 6"/>
          <p:cNvSpPr/>
          <p:nvPr/>
        </p:nvSpPr>
        <p:spPr>
          <a:xfrm>
            <a:off x="530352" y="973301"/>
            <a:ext cx="3721406" cy="1940957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5] Static restrictions: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ell there are inhabited areas which you like to avoid, like </a:t>
            </a:r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Vigilantes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who can beat you or </a:t>
            </a:r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rannies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which will tell your grand mother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4531587" y="3729108"/>
            <a:ext cx="4047473" cy="22474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5] Static restrictions: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Breakable – You can tell your grand mother you were on your way to local church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Unbreakable -  Gopniks will beat you anyway</a:t>
            </a: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ry to avoid all restricted areas</a:t>
            </a:r>
          </a:p>
        </p:txBody>
      </p:sp>
      <p:pic>
        <p:nvPicPr>
          <p:cNvPr id="17414" name="Picture 6" descr="VÃ½sledok vyhÄ¾adÃ¡vania obrÃ¡zkov pre dopyt old ladies drawi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980" y="3138854"/>
            <a:ext cx="3450087" cy="3200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16" name="Picture 8" descr="VÃ½sledok vyhÄ¾adÃ¡vania obrÃ¡zkov pre dopyt knights drawi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7241" y="973301"/>
            <a:ext cx="3733905" cy="23143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657659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y to avoid static restrictions areas ! 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  <p:sp>
        <p:nvSpPr>
          <p:cNvPr id="6" name="Oval 5"/>
          <p:cNvSpPr/>
          <p:nvPr/>
        </p:nvSpPr>
        <p:spPr>
          <a:xfrm>
            <a:off x="4583970" y="2921556"/>
            <a:ext cx="4053618" cy="2077403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Vigilante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7" name="Oval 6"/>
          <p:cNvSpPr/>
          <p:nvPr/>
        </p:nvSpPr>
        <p:spPr>
          <a:xfrm>
            <a:off x="1339403" y="4087602"/>
            <a:ext cx="3434820" cy="1298377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3"/>
              </a:solidFill>
            </a:endParaRP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Grannies</a:t>
            </a:r>
          </a:p>
          <a:p>
            <a:pPr algn="ctr"/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8" name="Rectangle: Rounded Corners 7"/>
          <p:cNvSpPr/>
          <p:nvPr/>
        </p:nvSpPr>
        <p:spPr>
          <a:xfrm>
            <a:off x="530351" y="839104"/>
            <a:ext cx="6118099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5] Static restrictions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ry to avoid them (KW evolution omitted)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Vigilantes 	– unbreakable, must avoid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rannies 	– breakable, but you have no excuse</a:t>
            </a:r>
          </a:p>
        </p:txBody>
      </p:sp>
    </p:spTree>
    <p:extLst>
      <p:ext uri="{BB962C8B-B14F-4D97-AF65-F5344CB8AC3E}">
        <p14:creationId xmlns:p14="http://schemas.microsoft.com/office/powerpoint/2010/main" val="118552546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about weather 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  <p:pic>
        <p:nvPicPr>
          <p:cNvPr id="19458" name="Picture 2" descr="https://i.pinimg.com/originals/6a/09/71/6a0971ba5097dd9af83d03f497032bd6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492" y="3026147"/>
            <a:ext cx="4018208" cy="3013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460" name="Picture 4" descr="Výsledok vyhľadávania obrázkov pre dopyt frozen tree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1504" y="1190882"/>
            <a:ext cx="3897555" cy="26856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: Rounded Corners 6"/>
          <p:cNvSpPr/>
          <p:nvPr/>
        </p:nvSpPr>
        <p:spPr>
          <a:xfrm>
            <a:off x="530352" y="1223127"/>
            <a:ext cx="4025348" cy="1634490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6] Weather:</a:t>
            </a:r>
          </a:p>
          <a:p>
            <a:pPr algn="ctr"/>
            <a:r>
              <a:rPr lang="sk-SK" b="1" dirty="0" err="1">
                <a:solidFill>
                  <a:schemeClr val="bg1"/>
                </a:solidFill>
              </a:rPr>
              <a:t>Östlichesburg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winter very harsh,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n the other hand,</a:t>
            </a:r>
          </a:p>
          <a:p>
            <a:pPr algn="ctr"/>
            <a:r>
              <a:rPr lang="sk-SK" b="1" dirty="0" err="1">
                <a:solidFill>
                  <a:schemeClr val="bg1"/>
                </a:solidFill>
              </a:rPr>
              <a:t>Östlichesburg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summer  even </a:t>
            </a:r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arsher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4681504" y="3999568"/>
            <a:ext cx="4230676" cy="22474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6] Weather: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eather can impact energy consump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eather is changing with time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making with additional layer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mpact on your eyes and ears</a:t>
            </a:r>
          </a:p>
        </p:txBody>
      </p:sp>
    </p:spTree>
    <p:extLst>
      <p:ext uri="{BB962C8B-B14F-4D97-AF65-F5344CB8AC3E}">
        <p14:creationId xmlns:p14="http://schemas.microsoft.com/office/powerpoint/2010/main" val="220178159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ather get caught, than catching cold …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  <p:sp>
        <p:nvSpPr>
          <p:cNvPr id="9" name="Rectangle: Rounded Corners 8"/>
          <p:cNvSpPr/>
          <p:nvPr/>
        </p:nvSpPr>
        <p:spPr>
          <a:xfrm>
            <a:off x="5407309" y="3068806"/>
            <a:ext cx="3230279" cy="3200043"/>
          </a:xfrm>
          <a:prstGeom prst="roundRect">
            <a:avLst>
              <a:gd name="adj" fmla="val 4763"/>
            </a:avLst>
          </a:prstGeom>
          <a:solidFill>
            <a:schemeClr val="accent2"/>
          </a:solidFill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eatwave</a:t>
            </a:r>
          </a:p>
        </p:txBody>
      </p:sp>
      <p:sp>
        <p:nvSpPr>
          <p:cNvPr id="6" name="Oval 5"/>
          <p:cNvSpPr/>
          <p:nvPr/>
        </p:nvSpPr>
        <p:spPr>
          <a:xfrm>
            <a:off x="4583970" y="2921556"/>
            <a:ext cx="4053618" cy="2077403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Vigilante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2262551"/>
            <a:ext cx="3230279" cy="4047113"/>
          </a:xfrm>
          <a:prstGeom prst="roundRect">
            <a:avLst>
              <a:gd name="adj" fmla="val 4763"/>
            </a:avLst>
          </a:prstGeom>
          <a:solidFill>
            <a:schemeClr val="accent3">
              <a:lumMod val="50000"/>
            </a:schemeClr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nowstorm</a:t>
            </a: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7" name="Oval 6"/>
          <p:cNvSpPr/>
          <p:nvPr/>
        </p:nvSpPr>
        <p:spPr>
          <a:xfrm>
            <a:off x="1339403" y="4087602"/>
            <a:ext cx="3837904" cy="1298377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3"/>
              </a:solidFill>
            </a:endParaRP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Grannies</a:t>
            </a:r>
          </a:p>
          <a:p>
            <a:pPr algn="ctr"/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10" name="Rectangle: Rounded Corners 9"/>
          <p:cNvSpPr/>
          <p:nvPr/>
        </p:nvSpPr>
        <p:spPr>
          <a:xfrm>
            <a:off x="530352" y="839105"/>
            <a:ext cx="6385603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6] Weather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ry to avoid unfavorable weather conditions: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eatwave at EAST (changing with time)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nowstorm at WEST (changing with time)</a:t>
            </a:r>
          </a:p>
        </p:txBody>
      </p:sp>
      <p:pic>
        <p:nvPicPr>
          <p:cNvPr id="13" name="Picture 4" descr="File:A gentleman, walking towards the left and drawing his sword from the sheath, wearing a plumed hat and boots with spurs MET DP829192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402" t="8636" r="29501" b="74755"/>
          <a:stretch/>
        </p:blipFill>
        <p:spPr bwMode="auto">
          <a:xfrm>
            <a:off x="708571" y="3068806"/>
            <a:ext cx="973517" cy="6770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peech Bubble: Rectangle with Corners Rounded 11"/>
          <p:cNvSpPr/>
          <p:nvPr/>
        </p:nvSpPr>
        <p:spPr>
          <a:xfrm>
            <a:off x="1797089" y="2812841"/>
            <a:ext cx="2207818" cy="715089"/>
          </a:xfrm>
          <a:prstGeom prst="wedgeRoundRectCallout">
            <a:avLst>
              <a:gd name="adj1" fmla="val -65733"/>
              <a:gd name="adj2" fmla="val 36835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 will explain somehow…</a:t>
            </a:r>
          </a:p>
        </p:txBody>
      </p:sp>
    </p:spTree>
    <p:extLst>
      <p:ext uri="{BB962C8B-B14F-4D97-AF65-F5344CB8AC3E}">
        <p14:creationId xmlns:p14="http://schemas.microsoft.com/office/powerpoint/2010/main" val="158126691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ick to the rules 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0352" y="1223127"/>
            <a:ext cx="3202388" cy="1634490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7] Rules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bey rules while walking, keep yourself on right side of the road and look after others …</a:t>
            </a:r>
          </a:p>
        </p:txBody>
      </p:sp>
      <p:sp>
        <p:nvSpPr>
          <p:cNvPr id="7" name="Rectangle: Rounded Corners 6"/>
          <p:cNvSpPr/>
          <p:nvPr/>
        </p:nvSpPr>
        <p:spPr>
          <a:xfrm>
            <a:off x="530352" y="2872979"/>
            <a:ext cx="3202388" cy="31668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7] Rules: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stick to written and unwritten rules during your commuting 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ules are necessary for </a:t>
            </a:r>
            <a:r>
              <a:rPr lang="en-US" b="1" dirty="0" err="1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uccesfull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integration into traffic, society, air space</a:t>
            </a:r>
          </a:p>
        </p:txBody>
      </p:sp>
      <p:pic>
        <p:nvPicPr>
          <p:cNvPr id="16386" name="Picture 2" descr="VÃ½sledok vyhÄ¾adÃ¡vania obrÃ¡zkov pre dopyt musketeer duel drawin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634"/>
          <a:stretch/>
        </p:blipFill>
        <p:spPr bwMode="auto">
          <a:xfrm>
            <a:off x="4009291" y="856420"/>
            <a:ext cx="4747847" cy="54344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4265845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stacle avoidance framework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est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9394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 advClick="0" advTm="5000"/>
    </mc:Choice>
    <mc:Fallback xmlns="">
      <p:transition spd="slow" advClick="0" advTm="5000"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ehicle control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4">
              <a:lumMod val="85000"/>
            </a:schemeClr>
          </a:solidFill>
          <a:ln>
            <a:solidFill>
              <a:schemeClr val="accent4">
                <a:lumMod val="85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est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Rectangular Callout 24"/>
          <p:cNvSpPr/>
          <p:nvPr/>
        </p:nvSpPr>
        <p:spPr>
          <a:xfrm>
            <a:off x="514578" y="3155461"/>
            <a:ext cx="4661429" cy="1618572"/>
          </a:xfrm>
          <a:prstGeom prst="wedgeRectCallout">
            <a:avLst>
              <a:gd name="adj1" fmla="val -30053"/>
              <a:gd name="adj2" fmla="val 55340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0498" y="3252718"/>
            <a:ext cx="4478357" cy="1393579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0920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 advClick="0" advTm="5000"/>
    </mc:Choice>
    <mc:Fallback xmlns="">
      <p:transition spd="slow" advClick="0" advTm="5000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  <p:pic>
        <p:nvPicPr>
          <p:cNvPr id="15362" name="Picture 2" descr="File:Le restaurant VÃ©ry - ext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351" y="70037"/>
            <a:ext cx="3584448" cy="53360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331351" y="6011971"/>
            <a:ext cx="442300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" dirty="0"/>
              <a:t>[1]</a:t>
            </a:r>
            <a:r>
              <a:rPr lang="en-US" sz="500" dirty="0">
                <a:hlinkClick r:id="rId3"/>
              </a:rPr>
              <a:t>https://commons.wikimedia.org/wiki/File:Le_restaurant_V%C3%A9ry_-_ext.png</a:t>
            </a:r>
            <a:endParaRPr lang="en-US" sz="500" dirty="0"/>
          </a:p>
          <a:p>
            <a:r>
              <a:rPr lang="en-US" sz="500" dirty="0"/>
              <a:t>[2]https://commons.wikimedia.org/wiki/File:A_gentleman,_walking_towards_the_left_and_drawing_his_sword_from_the_sheath,_wearing_a_plumed_hat_and_boots_with_spurs_MET_DP829192.jpg</a:t>
            </a:r>
          </a:p>
        </p:txBody>
      </p:sp>
      <p:pic>
        <p:nvPicPr>
          <p:cNvPr id="15364" name="Picture 4" descr="File:A gentleman, walking towards the left and drawing his sword from the sheath, wearing a plumed hat and boots with spurs MET DP829192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3919" y="70037"/>
            <a:ext cx="2696997" cy="40760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/>
        </p:nvSpPr>
        <p:spPr>
          <a:xfrm>
            <a:off x="3597445" y="4329787"/>
            <a:ext cx="5468164" cy="175432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How this gentleman </a:t>
            </a:r>
          </a:p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gets </a:t>
            </a:r>
          </a:p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into the Fine Restaurant</a:t>
            </a:r>
            <a:endParaRPr lang="en-US" sz="3600" b="1" cap="none" spc="0" dirty="0">
              <a:ln w="12700">
                <a:solidFill>
                  <a:schemeClr val="tx2">
                    <a:lumMod val="75000"/>
                  </a:schemeClr>
                </a:solidFill>
                <a:prstDash val="solid"/>
              </a:ln>
              <a:pattFill prst="dkUpDiag">
                <a:fgClr>
                  <a:schemeClr val="tx2"/>
                </a:fgClr>
                <a:bgClr>
                  <a:schemeClr val="tx2">
                    <a:lumMod val="20000"/>
                    <a:lumOff val="80000"/>
                  </a:schemeClr>
                </a:bgClr>
              </a:pattFill>
              <a:effectLst>
                <a:outerShdw dist="38100" dir="2640000" algn="bl" rotWithShape="0">
                  <a:schemeClr val="tx2">
                    <a:lumMod val="75000"/>
                  </a:schemeClr>
                </a:outerShdw>
              </a:effectLst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990131" y="815407"/>
            <a:ext cx="819455" cy="2585323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  <a:p>
            <a:pPr algn="ctr"/>
            <a:r>
              <a:rPr lang="en-US" sz="54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  <a:p>
            <a:pPr algn="ctr"/>
            <a:r>
              <a:rPr lang="en-US" sz="5400" b="1" cap="none" spc="0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</p:txBody>
      </p:sp>
    </p:spTree>
    <p:extLst>
      <p:ext uri="{BB962C8B-B14F-4D97-AF65-F5344CB8AC3E}">
        <p14:creationId xmlns:p14="http://schemas.microsoft.com/office/powerpoint/2010/main" val="131687349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vement Automaton 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est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5" name="Group 14"/>
          <p:cNvGrpSpPr/>
          <p:nvPr/>
        </p:nvGrpSpPr>
        <p:grpSpPr>
          <a:xfrm>
            <a:off x="2399251" y="1409350"/>
            <a:ext cx="4305664" cy="3364683"/>
            <a:chOff x="2399251" y="1409350"/>
            <a:chExt cx="4305664" cy="3364683"/>
          </a:xfrm>
          <a:solidFill>
            <a:schemeClr val="accent3"/>
          </a:solidFill>
        </p:grpSpPr>
        <p:sp>
          <p:nvSpPr>
            <p:cNvPr id="3" name="Rectangular Callout 2"/>
            <p:cNvSpPr/>
            <p:nvPr/>
          </p:nvSpPr>
          <p:spPr>
            <a:xfrm>
              <a:off x="2399251" y="1409350"/>
              <a:ext cx="4305664" cy="3364683"/>
            </a:xfrm>
            <a:prstGeom prst="wedgeRectCallout">
              <a:avLst>
                <a:gd name="adj1" fmla="val -894"/>
                <a:gd name="adj2" fmla="val 53267"/>
              </a:avLst>
            </a:prstGeom>
            <a:grpFill/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endParaRPr lang="en-US" dirty="0"/>
            </a:p>
          </p:txBody>
        </p:sp>
        <p:pic>
          <p:nvPicPr>
            <p:cNvPr id="25" name="Picture 24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536982" y="1503849"/>
              <a:ext cx="3979365" cy="3077241"/>
            </a:xfrm>
            <a:prstGeom prst="rect">
              <a:avLst/>
            </a:prstGeom>
            <a:grpFill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</p:pic>
      </p:grpSp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2114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 advClick="0" advTm="5000"/>
    </mc:Choice>
    <mc:Fallback xmlns="">
      <p:transition spd="slow" advClick="0" advTm="5000"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estimation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est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2130804" y="948980"/>
            <a:ext cx="6386134" cy="3691778"/>
          </a:xfrm>
          <a:prstGeom prst="wedgeRectCallout">
            <a:avLst>
              <a:gd name="adj1" fmla="val 33709"/>
              <a:gd name="adj2" fmla="val 55524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39" r="7530" b="6587"/>
          <a:stretch/>
        </p:blipFill>
        <p:spPr>
          <a:xfrm>
            <a:off x="2247882" y="1012164"/>
            <a:ext cx="6157520" cy="3522558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7393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 advClick="0" advTm="5000"/>
    </mc:Choice>
    <mc:Fallback xmlns="">
      <p:transition spd="slow" advClick="0" advTm="5000"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-Trajectory set &amp; Graph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3063406"/>
            <a:ext cx="4318931" cy="3403831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8931" y="856420"/>
            <a:ext cx="4742857" cy="3866667"/>
          </a:xfrm>
          <a:prstGeom prst="rect">
            <a:avLst/>
          </a:prstGeom>
        </p:spPr>
      </p:pic>
      <p:sp>
        <p:nvSpPr>
          <p:cNvPr id="13" name="Rounded Rectangular Callout 14"/>
          <p:cNvSpPr/>
          <p:nvPr/>
        </p:nvSpPr>
        <p:spPr>
          <a:xfrm>
            <a:off x="530352" y="1615440"/>
            <a:ext cx="3645408" cy="952500"/>
          </a:xfrm>
          <a:prstGeom prst="wedgeRoundRectCallout">
            <a:avLst>
              <a:gd name="adj1" fmla="val 59212"/>
              <a:gd name="adj2" fmla="val 15935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rajectory set approximatio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350 move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70 paths</a:t>
            </a:r>
          </a:p>
        </p:txBody>
      </p:sp>
      <p:sp>
        <p:nvSpPr>
          <p:cNvPr id="14" name="Rounded Rectangular Callout 15"/>
          <p:cNvSpPr/>
          <p:nvPr/>
        </p:nvSpPr>
        <p:spPr>
          <a:xfrm>
            <a:off x="4515758" y="4967425"/>
            <a:ext cx="2696412" cy="889543"/>
          </a:xfrm>
          <a:prstGeom prst="wedgeRoundRectCallout">
            <a:avLst>
              <a:gd name="adj1" fmla="val -58456"/>
              <a:gd name="adj2" fmla="val -19943"/>
              <a:gd name="adj3" fmla="val 16667"/>
            </a:avLst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raph approximatio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351 nod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70 paths</a:t>
            </a:r>
          </a:p>
        </p:txBody>
      </p:sp>
    </p:spTree>
    <p:extLst>
      <p:ext uri="{BB962C8B-B14F-4D97-AF65-F5344CB8AC3E}">
        <p14:creationId xmlns:p14="http://schemas.microsoft.com/office/powerpoint/2010/main" val="202177302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ssion plan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est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514578" y="965508"/>
            <a:ext cx="6020446" cy="3159078"/>
          </a:xfrm>
          <a:prstGeom prst="wedgeRectCallout">
            <a:avLst>
              <a:gd name="adj1" fmla="val 52102"/>
              <a:gd name="adj2" fmla="val 462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08" t="7546" r="51193" b="53210"/>
          <a:stretch/>
        </p:blipFill>
        <p:spPr>
          <a:xfrm>
            <a:off x="620785" y="1052532"/>
            <a:ext cx="5821959" cy="2979635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994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 advClick="0" advTm="5000"/>
    </mc:Choice>
    <mc:Fallback xmlns="">
      <p:transition spd="slow" advClick="0" advTm="5000"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S-B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est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2573417" y="894351"/>
            <a:ext cx="6033688" cy="4323601"/>
          </a:xfrm>
          <a:prstGeom prst="wedgeRectCallout">
            <a:avLst>
              <a:gd name="adj1" fmla="val -54252"/>
              <a:gd name="adj2" fmla="val -34412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2050" name="Picture 2" descr="http://darrenenns.no-ip.org/dmenns/ADS-B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8853" y="986912"/>
            <a:ext cx="5828084" cy="4127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Rounded Rectangle 26"/>
          <p:cNvSpPr/>
          <p:nvPr/>
        </p:nvSpPr>
        <p:spPr>
          <a:xfrm>
            <a:off x="514578" y="961609"/>
            <a:ext cx="1812022" cy="914400"/>
          </a:xfrm>
          <a:prstGeom prst="roundRect">
            <a:avLst/>
          </a:prstGeom>
          <a:gradFill flip="none" rotWithShape="1">
            <a:gsLst>
              <a:gs pos="0">
                <a:srgbClr val="C00000"/>
              </a:gs>
              <a:gs pos="0">
                <a:srgbClr val="C00000"/>
              </a:gs>
              <a:gs pos="100000">
                <a:srgbClr val="00B050"/>
              </a:gs>
            </a:gsLst>
            <a:lin ang="6000000" scaled="0"/>
            <a:tileRect/>
          </a:gra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6501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 advClick="0" advTm="5000"/>
    </mc:Choice>
    <mc:Fallback xmlns="">
      <p:transition spd="slow" advClick="0" advTm="5000"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DAR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est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514577" y="948981"/>
            <a:ext cx="6001769" cy="3555907"/>
          </a:xfrm>
          <a:prstGeom prst="wedgeRectCallout">
            <a:avLst>
              <a:gd name="adj1" fmla="val 53362"/>
              <a:gd name="adj2" fmla="val -4023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05" r="7473" b="4570"/>
          <a:stretch/>
        </p:blipFill>
        <p:spPr>
          <a:xfrm>
            <a:off x="610143" y="1055524"/>
            <a:ext cx="5790658" cy="3356384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9790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 advClick="0" advTm="5000"/>
    </mc:Choice>
    <mc:Fallback xmlns="">
      <p:transition spd="slow" advClick="0" advTm="5000"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stacle Map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est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1904301" y="1935667"/>
            <a:ext cx="5050172" cy="3794014"/>
          </a:xfrm>
          <a:prstGeom prst="wedgeRectCallout">
            <a:avLst>
              <a:gd name="adj1" fmla="val 2516"/>
              <a:gd name="adj2" fmla="val -53444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40" t="6430" r="4515" b="3389"/>
          <a:stretch/>
        </p:blipFill>
        <p:spPr>
          <a:xfrm>
            <a:off x="2004968" y="2038662"/>
            <a:ext cx="4882393" cy="3607268"/>
          </a:xfrm>
          <a:prstGeom prst="rect">
            <a:avLst/>
          </a:prstGeom>
        </p:spPr>
      </p:pic>
      <p:sp>
        <p:nvSpPr>
          <p:cNvPr id="27" name="Rounded Rectangle 26"/>
          <p:cNvSpPr/>
          <p:nvPr/>
        </p:nvSpPr>
        <p:spPr>
          <a:xfrm>
            <a:off x="3609747" y="907318"/>
            <a:ext cx="1812022" cy="914400"/>
          </a:xfrm>
          <a:prstGeom prst="roundRect">
            <a:avLst/>
          </a:prstGeom>
          <a:gradFill flip="none" rotWithShape="1">
            <a:gsLst>
              <a:gs pos="0">
                <a:srgbClr val="C00000"/>
              </a:gs>
              <a:gs pos="0">
                <a:srgbClr val="C00000"/>
              </a:gs>
              <a:gs pos="100000">
                <a:srgbClr val="00B050"/>
              </a:gs>
            </a:gsLst>
            <a:lin ang="6000000" scaled="0"/>
            <a:tileRect/>
          </a:gra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841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 advClick="0" advTm="5000"/>
    </mc:Choice>
    <mc:Fallback xmlns="">
      <p:transition spd="slow" advClick="0" advTm="5000"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Grid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estimation</a:t>
            </a:r>
          </a:p>
        </p:txBody>
      </p:sp>
      <p:cxnSp>
        <p:nvCxnSpPr>
          <p:cNvPr id="16" name="Elbow Connector 15"/>
          <p:cNvCxnSpPr>
            <a:cxnSpLocks/>
            <a:stCxn id="10" idx="2"/>
            <a:endCxn id="6" idx="0"/>
          </p:cNvCxnSpPr>
          <p:nvPr/>
        </p:nvCxnSpPr>
        <p:spPr>
          <a:xfrm rot="16200000" flipH="1">
            <a:off x="2550549" y="733421"/>
            <a:ext cx="862321" cy="3122240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cxnSpLocks/>
            <a:stCxn id="8" idx="2"/>
            <a:endCxn id="6" idx="0"/>
          </p:cNvCxnSpPr>
          <p:nvPr/>
        </p:nvCxnSpPr>
        <p:spPr>
          <a:xfrm rot="5400000">
            <a:off x="5645718" y="760493"/>
            <a:ext cx="862321" cy="3068097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cxnSpLocks/>
            <a:stCxn id="9" idx="2"/>
            <a:endCxn id="6" idx="0"/>
          </p:cNvCxnSpPr>
          <p:nvPr/>
        </p:nvCxnSpPr>
        <p:spPr>
          <a:xfrm>
            <a:off x="4515757" y="1821718"/>
            <a:ext cx="27072" cy="90398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cxnSpLocks/>
            <a:stCxn id="6" idx="2"/>
            <a:endCxn id="5" idx="0"/>
          </p:cNvCxnSpPr>
          <p:nvPr/>
        </p:nvCxnSpPr>
        <p:spPr>
          <a:xfrm flipH="1">
            <a:off x="4515757" y="3337128"/>
            <a:ext cx="27072" cy="330258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Rectangular Callout 28"/>
          <p:cNvSpPr/>
          <p:nvPr/>
        </p:nvSpPr>
        <p:spPr>
          <a:xfrm>
            <a:off x="150554" y="153070"/>
            <a:ext cx="3800479" cy="2778735"/>
          </a:xfrm>
          <a:prstGeom prst="wedgeRectCallout">
            <a:avLst>
              <a:gd name="adj1" fmla="val 58322"/>
              <a:gd name="adj2" fmla="val 48476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160" y="214488"/>
            <a:ext cx="3555926" cy="2654654"/>
          </a:xfrm>
          <a:prstGeom prst="rect">
            <a:avLst/>
          </a:prstGeom>
        </p:spPr>
      </p:pic>
      <p:grpSp>
        <p:nvGrpSpPr>
          <p:cNvPr id="22" name="Group 21"/>
          <p:cNvGrpSpPr/>
          <p:nvPr/>
        </p:nvGrpSpPr>
        <p:grpSpPr>
          <a:xfrm>
            <a:off x="5169463" y="154904"/>
            <a:ext cx="3800479" cy="2778735"/>
            <a:chOff x="9800083" y="223837"/>
            <a:chExt cx="3800479" cy="2778735"/>
          </a:xfrm>
          <a:solidFill>
            <a:schemeClr val="accent3"/>
          </a:solidFill>
        </p:grpSpPr>
        <p:sp>
          <p:nvSpPr>
            <p:cNvPr id="33" name="Rectangular Callout 32"/>
            <p:cNvSpPr/>
            <p:nvPr/>
          </p:nvSpPr>
          <p:spPr>
            <a:xfrm>
              <a:off x="9800083" y="223837"/>
              <a:ext cx="3800479" cy="2778735"/>
            </a:xfrm>
            <a:prstGeom prst="wedgeRectCallout">
              <a:avLst>
                <a:gd name="adj1" fmla="val -55295"/>
                <a:gd name="adj2" fmla="val 52133"/>
              </a:avLst>
            </a:prstGeom>
            <a:grpFill/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endParaRPr lang="en-US" dirty="0"/>
            </a:p>
          </p:txBody>
        </p:sp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42488" y="245402"/>
              <a:ext cx="3721100" cy="2735603"/>
            </a:xfrm>
            <a:prstGeom prst="rect">
              <a:avLst/>
            </a:prstGeom>
            <a:grpFill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</p:pic>
      </p:grpSp>
      <p:sp>
        <p:nvSpPr>
          <p:cNvPr id="31" name="Rectangular Callout 30"/>
          <p:cNvSpPr/>
          <p:nvPr/>
        </p:nvSpPr>
        <p:spPr>
          <a:xfrm>
            <a:off x="70911" y="3496519"/>
            <a:ext cx="3800479" cy="2778735"/>
          </a:xfrm>
          <a:prstGeom prst="wedgeRectCallout">
            <a:avLst>
              <a:gd name="adj1" fmla="val 62332"/>
              <a:gd name="adj2" fmla="val -57786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5" name="Picture 3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1755" y="3565517"/>
            <a:ext cx="3618789" cy="2640738"/>
          </a:xfrm>
          <a:prstGeom prst="rect">
            <a:avLst/>
          </a:prstGeom>
        </p:spPr>
      </p:pic>
      <p:sp>
        <p:nvSpPr>
          <p:cNvPr id="37" name="Rectangular Callout 34"/>
          <p:cNvSpPr/>
          <p:nvPr/>
        </p:nvSpPr>
        <p:spPr>
          <a:xfrm>
            <a:off x="5184072" y="3491627"/>
            <a:ext cx="3785870" cy="2778735"/>
          </a:xfrm>
          <a:prstGeom prst="wedgeRectCallout">
            <a:avLst>
              <a:gd name="adj1" fmla="val -63988"/>
              <a:gd name="adj2" fmla="val -63612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9" name="Picture 3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6157" y="3553225"/>
            <a:ext cx="3441700" cy="2640208"/>
          </a:xfrm>
          <a:prstGeom prst="rect">
            <a:avLst/>
          </a:prstGeom>
        </p:spPr>
      </p:pic>
      <p:sp>
        <p:nvSpPr>
          <p:cNvPr id="6" name="Rounded Rectangle 5"/>
          <p:cNvSpPr/>
          <p:nvPr/>
        </p:nvSpPr>
        <p:spPr>
          <a:xfrm>
            <a:off x="3636818" y="2725702"/>
            <a:ext cx="1812022" cy="611426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</p:spTree>
    <p:extLst>
      <p:ext uri="{BB962C8B-B14F-4D97-AF65-F5344CB8AC3E}">
        <p14:creationId xmlns:p14="http://schemas.microsoft.com/office/powerpoint/2010/main" val="763115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 advClick="0" advTm="5000"/>
    </mc:Choice>
    <mc:Fallback xmlns="">
      <p:transition spd="slow" advClick="0" advTm="5000"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cxnSp>
        <p:nvCxnSpPr>
          <p:cNvPr id="16" name="Elbow Connector 15"/>
          <p:cNvCxnSpPr>
            <a:cxnSpLocks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cxnSpLocks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cxnSpLocks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cxnSpLocks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cxnSpLocks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cxnSpLocks/>
            <a:stCxn id="7" idx="3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cxnSpLocks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8252" y="504826"/>
            <a:ext cx="7629761" cy="569594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4598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 advClick="0" advTm="5000"/>
    </mc:Choice>
    <mc:Fallback xmlns="">
      <p:transition spd="slow" advClick="0" advTm="5000"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Elbow Connector 15"/>
          <p:cNvCxnSpPr>
            <a:cxnSpLocks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cxnSpLocks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cxnSpLocks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cxnSpLocks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5" name="Picture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864" y="504827"/>
            <a:ext cx="7951788" cy="584583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</p:pic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4000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 advClick="0" advTm="5000"/>
    </mc:Choice>
    <mc:Fallback xmlns="">
      <p:transition spd="slow" advClick="0" advTm="5000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get to the fine restaurant ?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530352" y="1210757"/>
            <a:ext cx="8341086" cy="515011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7225910" y="1235551"/>
            <a:ext cx="914400" cy="408623"/>
          </a:xfrm>
          <a:prstGeom prst="wedgeRoundRectCallout">
            <a:avLst>
              <a:gd name="adj1" fmla="val 76350"/>
              <a:gd name="adj2" fmla="val -1384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ome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2842477" y="4930467"/>
            <a:ext cx="1467805" cy="408623"/>
          </a:xfrm>
          <a:prstGeom prst="wedgeRoundRectCallout">
            <a:avLst>
              <a:gd name="adj1" fmla="val 69308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staurant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536792" y="1210757"/>
            <a:ext cx="3088611" cy="1021556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entleman  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chemeClr val="tx2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ome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</a:t>
            </a:r>
            <a:endParaRPr lang="sk-SK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nd </a:t>
            </a:r>
            <a:endParaRPr lang="sk-SK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fine  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staurant</a:t>
            </a:r>
          </a:p>
        </p:txBody>
      </p:sp>
      <p:sp>
        <p:nvSpPr>
          <p:cNvPr id="3" name="Scroll: Horizontal 2"/>
          <p:cNvSpPr/>
          <p:nvPr/>
        </p:nvSpPr>
        <p:spPr>
          <a:xfrm>
            <a:off x="6622406" y="5339090"/>
            <a:ext cx="2121408" cy="858857"/>
          </a:xfrm>
          <a:prstGeom prst="horizontalScroll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sk-SK" dirty="0" err="1">
                <a:solidFill>
                  <a:schemeClr val="bg1"/>
                </a:solidFill>
              </a:rPr>
              <a:t>Östlichesburg</a:t>
            </a:r>
            <a:endParaRPr lang="sk-SK" dirty="0">
              <a:solidFill>
                <a:schemeClr val="bg1"/>
              </a:solidFill>
            </a:endParaRPr>
          </a:p>
          <a:p>
            <a:pPr algn="ctr"/>
            <a:r>
              <a:rPr lang="en-US" dirty="0">
                <a:solidFill>
                  <a:schemeClr val="bg1"/>
                </a:solidFill>
              </a:rPr>
              <a:t>~ </a:t>
            </a:r>
            <a:r>
              <a:rPr lang="sk-SK" dirty="0">
                <a:solidFill>
                  <a:schemeClr val="bg1"/>
                </a:solidFill>
              </a:rPr>
              <a:t>1269</a:t>
            </a:r>
            <a:r>
              <a:rPr lang="en-US" dirty="0">
                <a:solidFill>
                  <a:schemeClr val="bg1"/>
                </a:solidFill>
              </a:rPr>
              <a:t> AD</a:t>
            </a:r>
          </a:p>
        </p:txBody>
      </p:sp>
    </p:spTree>
    <p:extLst>
      <p:ext uri="{BB962C8B-B14F-4D97-AF65-F5344CB8AC3E}">
        <p14:creationId xmlns:p14="http://schemas.microsoft.com/office/powerpoint/2010/main" val="85383268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9318" y="504827"/>
            <a:ext cx="7857770" cy="573404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4574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 advClick="0" advTm="5000"/>
    </mc:Choice>
    <mc:Fallback xmlns="">
      <p:transition spd="slow" advClick="0" advTm="5000"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920" y="504827"/>
            <a:ext cx="7511991" cy="576262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5624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 advClick="0" advTm="5000"/>
    </mc:Choice>
    <mc:Fallback xmlns="">
      <p:transition spd="slow" advClick="0" advTm="5000"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</a:t>
            </a:r>
            <a:br>
              <a:rPr lang="en-US" dirty="0"/>
            </a:br>
            <a:r>
              <a:rPr lang="en-US" dirty="0"/>
              <a:t>	Simple maze</a:t>
            </a:r>
          </a:p>
        </p:txBody>
      </p:sp>
      <p:pic>
        <p:nvPicPr>
          <p:cNvPr id="5" name="maz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4"/>
          <a:srcRect l="10096" r="10200"/>
          <a:stretch/>
        </p:blipFill>
        <p:spPr>
          <a:xfrm>
            <a:off x="530352" y="1222131"/>
            <a:ext cx="7986661" cy="5635869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6643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1819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</a:t>
            </a:r>
            <a:br>
              <a:rPr lang="en-US" dirty="0"/>
            </a:br>
            <a:r>
              <a:rPr lang="en-US" dirty="0"/>
              <a:t>	Storm</a:t>
            </a:r>
          </a:p>
        </p:txBody>
      </p:sp>
      <p:pic>
        <p:nvPicPr>
          <p:cNvPr id="5" name="storm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4"/>
          <a:srcRect t="9742" b="9565"/>
          <a:stretch/>
        </p:blipFill>
        <p:spPr>
          <a:xfrm>
            <a:off x="0" y="1732085"/>
            <a:ext cx="9144000" cy="414997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80652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56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s of the Air Introduc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3</a:t>
            </a:fld>
            <a:endParaRPr lang="en-US" dirty="0"/>
          </a:p>
        </p:txBody>
      </p:sp>
      <p:pic>
        <p:nvPicPr>
          <p:cNvPr id="5" name="Picture 2" descr="VÃ½sledok vyhÄ¾adÃ¡vania obrÃ¡zkov pre dopyt musketeer duel drawin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03"/>
          <a:stretch/>
        </p:blipFill>
        <p:spPr bwMode="auto">
          <a:xfrm>
            <a:off x="530352" y="856420"/>
            <a:ext cx="8159261" cy="54344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6599507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/>
          <p:cNvSpPr/>
          <p:nvPr/>
        </p:nvSpPr>
        <p:spPr>
          <a:xfrm>
            <a:off x="3367454" y="2218073"/>
            <a:ext cx="4843858" cy="1754326"/>
          </a:xfrm>
          <a:prstGeom prst="rect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UAV 1 (S-Rotor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is Collision Case resolved by UTM</a:t>
            </a:r>
          </a:p>
        </p:txBody>
      </p:sp>
      <p:sp>
        <p:nvSpPr>
          <p:cNvPr id="35" name="Rectangle 34"/>
          <p:cNvSpPr/>
          <p:nvPr/>
        </p:nvSpPr>
        <p:spPr>
          <a:xfrm>
            <a:off x="3351969" y="4488182"/>
            <a:ext cx="4859343" cy="2031325"/>
          </a:xfrm>
          <a:prstGeom prst="rect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UAV 2 (FACAS)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i="1" u="sng" dirty="0"/>
              <a:t>Each vehicle is calculating Collision Cases</a:t>
            </a:r>
            <a:r>
              <a:rPr lang="en-US" dirty="0"/>
              <a:t>  to nearby vehicles, </a:t>
            </a:r>
          </a:p>
          <a:p>
            <a:r>
              <a:rPr lang="en-US" i="1" u="sng" dirty="0"/>
              <a:t>UTM is also calculating Collision Cases</a:t>
            </a:r>
            <a:r>
              <a:rPr lang="en-US" dirty="0"/>
              <a:t> to cluster vehicles,</a:t>
            </a:r>
          </a:p>
          <a:p>
            <a:r>
              <a:rPr lang="en-US" dirty="0"/>
              <a:t>UTM issues </a:t>
            </a:r>
            <a:r>
              <a:rPr lang="en-US" b="1" i="1" u="sng" dirty="0"/>
              <a:t>Resolution advisories</a:t>
            </a:r>
            <a:r>
              <a:rPr lang="en-US" dirty="0"/>
              <a:t> or separation rules to prevent colli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4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6324189" y="5405759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3542098" y="541210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6324189" y="2353188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3542098" y="2353188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pic>
        <p:nvPicPr>
          <p:cNvPr id="34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602887" y="3370878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ounded Rectangle 9"/>
          <p:cNvSpPr/>
          <p:nvPr/>
        </p:nvSpPr>
        <p:spPr>
          <a:xfrm>
            <a:off x="724622" y="3855869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Traffic Management</a:t>
            </a:r>
          </a:p>
        </p:txBody>
      </p:sp>
      <p:cxnSp>
        <p:nvCxnSpPr>
          <p:cNvPr id="11" name="Straight Arrow Connector 10"/>
          <p:cNvCxnSpPr>
            <a:cxnSpLocks/>
            <a:stCxn id="9" idx="0"/>
            <a:endCxn id="8" idx="1"/>
          </p:cNvCxnSpPr>
          <p:nvPr/>
        </p:nvCxnSpPr>
        <p:spPr>
          <a:xfrm rot="5400000" flipH="1" flipV="1">
            <a:off x="2063625" y="2377397"/>
            <a:ext cx="1045481" cy="1911465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3" name="Straight Arrow Connector 10"/>
          <p:cNvCxnSpPr>
            <a:cxnSpLocks/>
            <a:stCxn id="9" idx="2"/>
            <a:endCxn id="6" idx="1"/>
          </p:cNvCxnSpPr>
          <p:nvPr/>
        </p:nvCxnSpPr>
        <p:spPr>
          <a:xfrm rot="16200000" flipH="1">
            <a:off x="2036846" y="4364055"/>
            <a:ext cx="1099039" cy="1911465"/>
          </a:xfrm>
          <a:prstGeom prst="bentConnector2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10"/>
          <p:cNvCxnSpPr>
            <a:cxnSpLocks/>
            <a:stCxn id="8" idx="3"/>
            <a:endCxn id="7" idx="1"/>
          </p:cNvCxnSpPr>
          <p:nvPr/>
        </p:nvCxnSpPr>
        <p:spPr>
          <a:xfrm>
            <a:off x="5354120" y="2810388"/>
            <a:ext cx="970069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4" name="Straight Arrow Connector 10"/>
          <p:cNvCxnSpPr>
            <a:cxnSpLocks/>
            <a:stCxn id="6" idx="3"/>
            <a:endCxn id="5" idx="1"/>
          </p:cNvCxnSpPr>
          <p:nvPr/>
        </p:nvCxnSpPr>
        <p:spPr>
          <a:xfrm flipV="1">
            <a:off x="5354120" y="5862959"/>
            <a:ext cx="970069" cy="6349"/>
          </a:xfrm>
          <a:prstGeom prst="straightConnector1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10"/>
          <p:cNvCxnSpPr>
            <a:cxnSpLocks/>
            <a:stCxn id="8" idx="2"/>
            <a:endCxn id="9" idx="3"/>
          </p:cNvCxnSpPr>
          <p:nvPr/>
        </p:nvCxnSpPr>
        <p:spPr>
          <a:xfrm rot="5400000">
            <a:off x="2969637" y="2834596"/>
            <a:ext cx="1045481" cy="1911465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0" name="Straight Arrow Connector 10"/>
          <p:cNvCxnSpPr>
            <a:cxnSpLocks/>
            <a:stCxn id="6" idx="0"/>
            <a:endCxn id="9" idx="3"/>
          </p:cNvCxnSpPr>
          <p:nvPr/>
        </p:nvCxnSpPr>
        <p:spPr>
          <a:xfrm rot="16200000" flipV="1">
            <a:off x="2942858" y="3906856"/>
            <a:ext cx="1099039" cy="1911465"/>
          </a:xfrm>
          <a:prstGeom prst="curvedConnector2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602887" y="4770269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Scroll: Horizontal 36"/>
          <p:cNvSpPr/>
          <p:nvPr/>
        </p:nvSpPr>
        <p:spPr>
          <a:xfrm>
            <a:off x="2594359" y="3316341"/>
            <a:ext cx="2323471" cy="490776"/>
          </a:xfrm>
          <a:prstGeom prst="horizontalScroll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Position notification</a:t>
            </a:r>
          </a:p>
        </p:txBody>
      </p:sp>
      <p:sp>
        <p:nvSpPr>
          <p:cNvPr id="38" name="Scroll: Horizontal 37"/>
          <p:cNvSpPr/>
          <p:nvPr/>
        </p:nvSpPr>
        <p:spPr>
          <a:xfrm>
            <a:off x="2594359" y="4862669"/>
            <a:ext cx="2323471" cy="490776"/>
          </a:xfrm>
          <a:prstGeom prst="horizontalScroll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Position notification</a:t>
            </a:r>
          </a:p>
        </p:txBody>
      </p:sp>
      <p:sp>
        <p:nvSpPr>
          <p:cNvPr id="39" name="Scroll: Vertical 38"/>
          <p:cNvSpPr/>
          <p:nvPr/>
        </p:nvSpPr>
        <p:spPr>
          <a:xfrm>
            <a:off x="236735" y="2975828"/>
            <a:ext cx="1345134" cy="790099"/>
          </a:xfrm>
          <a:prstGeom prst="verticalScroll">
            <a:avLst/>
          </a:prstGeom>
          <a:ln w="12700">
            <a:solidFill>
              <a:srgbClr val="00206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2060"/>
                </a:solidFill>
              </a:rPr>
              <a:t>Collision Case</a:t>
            </a:r>
          </a:p>
        </p:txBody>
      </p:sp>
      <p:sp>
        <p:nvSpPr>
          <p:cNvPr id="40" name="Arrow: Pentagon 39"/>
          <p:cNvSpPr/>
          <p:nvPr/>
        </p:nvSpPr>
        <p:spPr>
          <a:xfrm>
            <a:off x="1199121" y="2326140"/>
            <a:ext cx="1503770" cy="369332"/>
          </a:xfrm>
          <a:prstGeom prst="homePlate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Resolution</a:t>
            </a:r>
          </a:p>
        </p:txBody>
      </p:sp>
      <p:sp>
        <p:nvSpPr>
          <p:cNvPr id="41" name="Arrow: Pentagon 40"/>
          <p:cNvSpPr/>
          <p:nvPr/>
        </p:nvSpPr>
        <p:spPr>
          <a:xfrm>
            <a:off x="1199121" y="5936942"/>
            <a:ext cx="1503770" cy="369332"/>
          </a:xfrm>
          <a:prstGeom prst="homePlate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Resolution</a:t>
            </a:r>
          </a:p>
        </p:txBody>
      </p:sp>
    </p:spTree>
    <p:extLst>
      <p:ext uri="{BB962C8B-B14F-4D97-AF65-F5344CB8AC3E}">
        <p14:creationId xmlns:p14="http://schemas.microsoft.com/office/powerpoint/2010/main" val="3720999626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 Engine Architectur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5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3464821" y="2003817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6767038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cision point</a:t>
            </a:r>
          </a:p>
          <a:p>
            <a:pPr algn="ctr"/>
            <a:r>
              <a:rPr lang="en-US" dirty="0"/>
              <a:t>(Join point)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530352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text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530352" y="4020877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arser</a:t>
            </a:r>
          </a:p>
        </p:txBody>
      </p:sp>
      <p:sp>
        <p:nvSpPr>
          <p:cNvPr id="9" name="Rounded Rectangle 9"/>
          <p:cNvSpPr/>
          <p:nvPr/>
        </p:nvSpPr>
        <p:spPr>
          <a:xfrm>
            <a:off x="3462833" y="5914193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dition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6767038" y="4025017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pplication</a:t>
            </a:r>
          </a:p>
        </p:txBody>
      </p:sp>
      <p:cxnSp>
        <p:nvCxnSpPr>
          <p:cNvPr id="11" name="Straight Arrow Connector 9"/>
          <p:cNvCxnSpPr>
            <a:cxnSpLocks/>
            <a:stCxn id="8" idx="3"/>
            <a:endCxn id="9" idx="1"/>
          </p:cNvCxnSpPr>
          <p:nvPr/>
        </p:nvCxnSpPr>
        <p:spPr>
          <a:xfrm>
            <a:off x="2342374" y="4190931"/>
            <a:ext cx="1120459" cy="1893316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4" name="Straight Arrow Connector 9"/>
          <p:cNvCxnSpPr>
            <a:cxnSpLocks/>
            <a:stCxn id="9" idx="3"/>
            <a:endCxn id="10" idx="1"/>
          </p:cNvCxnSpPr>
          <p:nvPr/>
        </p:nvCxnSpPr>
        <p:spPr>
          <a:xfrm flipV="1">
            <a:off x="5274855" y="4195071"/>
            <a:ext cx="1492183" cy="1889176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0" name="Rounded Rectangle 9"/>
          <p:cNvSpPr/>
          <p:nvPr/>
        </p:nvSpPr>
        <p:spPr>
          <a:xfrm>
            <a:off x="532340" y="199036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21" name="Rounded Rectangle 9"/>
          <p:cNvSpPr/>
          <p:nvPr/>
        </p:nvSpPr>
        <p:spPr>
          <a:xfrm>
            <a:off x="6767038" y="199036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22" name="Rounded Rectangle 9"/>
          <p:cNvSpPr/>
          <p:nvPr/>
        </p:nvSpPr>
        <p:spPr>
          <a:xfrm>
            <a:off x="3464821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cxnSp>
        <p:nvCxnSpPr>
          <p:cNvPr id="23" name="Straight Arrow Connector 9"/>
          <p:cNvCxnSpPr>
            <a:cxnSpLocks/>
            <a:endCxn id="5" idx="1"/>
          </p:cNvCxnSpPr>
          <p:nvPr/>
        </p:nvCxnSpPr>
        <p:spPr>
          <a:xfrm>
            <a:off x="2309812" y="1372821"/>
            <a:ext cx="1155009" cy="1088196"/>
          </a:xfrm>
          <a:prstGeom prst="curvedConnector3">
            <a:avLst/>
          </a:prstGeom>
          <a:ln w="57150">
            <a:solidFill>
              <a:srgbClr val="E71D1D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9"/>
          <p:cNvCxnSpPr>
            <a:cxnSpLocks/>
            <a:stCxn id="6" idx="1"/>
            <a:endCxn id="5" idx="3"/>
          </p:cNvCxnSpPr>
          <p:nvPr/>
        </p:nvCxnSpPr>
        <p:spPr>
          <a:xfrm rot="10800000" flipV="1">
            <a:off x="5276844" y="1318671"/>
            <a:ext cx="1490195" cy="1142346"/>
          </a:xfrm>
          <a:prstGeom prst="curvedConnector3">
            <a:avLst>
              <a:gd name="adj1" fmla="val 50000"/>
            </a:avLst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8" name="Straight Arrow Connector 9"/>
          <p:cNvCxnSpPr>
            <a:cxnSpLocks/>
            <a:stCxn id="22" idx="2"/>
            <a:endCxn id="5" idx="0"/>
          </p:cNvCxnSpPr>
          <p:nvPr/>
        </p:nvCxnSpPr>
        <p:spPr>
          <a:xfrm>
            <a:off x="4370832" y="1775871"/>
            <a:ext cx="0" cy="227946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1" name="Straight Arrow Connector 9"/>
          <p:cNvCxnSpPr>
            <a:cxnSpLocks/>
            <a:stCxn id="21" idx="0"/>
            <a:endCxn id="6" idx="2"/>
          </p:cNvCxnSpPr>
          <p:nvPr/>
        </p:nvCxnSpPr>
        <p:spPr>
          <a:xfrm flipV="1">
            <a:off x="7673049" y="1775871"/>
            <a:ext cx="0" cy="214497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4" name="Straight Arrow Connector 9"/>
          <p:cNvCxnSpPr>
            <a:cxnSpLocks/>
            <a:stCxn id="20" idx="0"/>
            <a:endCxn id="7" idx="2"/>
          </p:cNvCxnSpPr>
          <p:nvPr/>
        </p:nvCxnSpPr>
        <p:spPr>
          <a:xfrm flipH="1" flipV="1">
            <a:off x="1436363" y="1775871"/>
            <a:ext cx="1988" cy="214497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2" name="Straight Arrow Connector 9"/>
          <p:cNvCxnSpPr>
            <a:cxnSpLocks/>
            <a:stCxn id="5" idx="2"/>
            <a:endCxn id="8" idx="0"/>
          </p:cNvCxnSpPr>
          <p:nvPr/>
        </p:nvCxnSpPr>
        <p:spPr>
          <a:xfrm rot="5400000">
            <a:off x="2352268" y="2002313"/>
            <a:ext cx="1102660" cy="2934469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46" name="Rectangle 45"/>
          <p:cNvSpPr/>
          <p:nvPr/>
        </p:nvSpPr>
        <p:spPr>
          <a:xfrm>
            <a:off x="530352" y="4436865"/>
            <a:ext cx="1779460" cy="1477328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Parse context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Intruder Position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3462833" y="4020878"/>
            <a:ext cx="1779460" cy="1754326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Check condition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Intruder Velocity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6767038" y="4436865"/>
            <a:ext cx="1779460" cy="1477328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Take action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Slow down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6767038" y="3019651"/>
            <a:ext cx="1779460" cy="646331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rgbClr val="00B050"/>
                </a:solidFill>
              </a:rPr>
              <a:t>Velocity Recalculation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530352" y="3019651"/>
            <a:ext cx="1779460" cy="369332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rgbClr val="00B050"/>
                </a:solidFill>
              </a:rPr>
              <a:t>My mission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2426544" y="730056"/>
            <a:ext cx="9797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Gather </a:t>
            </a:r>
          </a:p>
          <a:p>
            <a:r>
              <a:rPr lang="en-US" dirty="0">
                <a:solidFill>
                  <a:schemeClr val="tx2"/>
                </a:solidFill>
              </a:rPr>
              <a:t>Context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5419535" y="749563"/>
            <a:ext cx="92845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Invoke </a:t>
            </a:r>
          </a:p>
          <a:p>
            <a:r>
              <a:rPr lang="en-US" dirty="0">
                <a:solidFill>
                  <a:schemeClr val="tx2"/>
                </a:solidFill>
              </a:rPr>
              <a:t>Engine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3229833" y="3475898"/>
            <a:ext cx="23391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>
                    <a:lumMod val="50000"/>
                  </a:schemeClr>
                </a:solidFill>
              </a:rPr>
              <a:t>Invoke Rule Instance</a:t>
            </a:r>
          </a:p>
        </p:txBody>
      </p:sp>
    </p:spTree>
    <p:extLst>
      <p:ext uri="{BB962C8B-B14F-4D97-AF65-F5344CB8AC3E}">
        <p14:creationId xmlns:p14="http://schemas.microsoft.com/office/powerpoint/2010/main" val="75955178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 Engine Setup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6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2272784" y="1949623"/>
            <a:ext cx="2620108" cy="369266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efore Avoidance Run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532339" y="1944571"/>
            <a:ext cx="1406865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3270721" y="5509519"/>
            <a:ext cx="2628549" cy="369266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ight Plane Heading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532339" y="3038371"/>
            <a:ext cx="1408853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9" name="Rounded Rectangle 9"/>
          <p:cNvSpPr/>
          <p:nvPr/>
        </p:nvSpPr>
        <p:spPr>
          <a:xfrm>
            <a:off x="2272784" y="2483695"/>
            <a:ext cx="2620109" cy="369266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fter Avoidance Run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2272784" y="3040889"/>
            <a:ext cx="2619320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rajectory Restriction</a:t>
            </a:r>
          </a:p>
        </p:txBody>
      </p:sp>
      <p:sp>
        <p:nvSpPr>
          <p:cNvPr id="12" name="Rounded Rectangle 9"/>
          <p:cNvSpPr/>
          <p:nvPr/>
        </p:nvSpPr>
        <p:spPr>
          <a:xfrm>
            <a:off x="3270721" y="6116527"/>
            <a:ext cx="2628549" cy="369266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nforce Safety Margin</a:t>
            </a:r>
          </a:p>
        </p:txBody>
      </p:sp>
      <p:sp>
        <p:nvSpPr>
          <p:cNvPr id="13" name="Rounded Rectangle 9"/>
          <p:cNvSpPr/>
          <p:nvPr/>
        </p:nvSpPr>
        <p:spPr>
          <a:xfrm>
            <a:off x="3270443" y="4987823"/>
            <a:ext cx="2628549" cy="369266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</a:t>
            </a:r>
          </a:p>
        </p:txBody>
      </p:sp>
      <p:sp>
        <p:nvSpPr>
          <p:cNvPr id="14" name="Rounded Rectangle 9"/>
          <p:cNvSpPr/>
          <p:nvPr/>
        </p:nvSpPr>
        <p:spPr>
          <a:xfrm>
            <a:off x="5311609" y="1949622"/>
            <a:ext cx="3172669" cy="369266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tect Collision Cases</a:t>
            </a:r>
          </a:p>
        </p:txBody>
      </p:sp>
      <p:sp>
        <p:nvSpPr>
          <p:cNvPr id="15" name="Rounded Rectangle 9"/>
          <p:cNvSpPr/>
          <p:nvPr/>
        </p:nvSpPr>
        <p:spPr>
          <a:xfrm>
            <a:off x="5311609" y="3067264"/>
            <a:ext cx="3172669" cy="868561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solve Collision  Cases</a:t>
            </a:r>
          </a:p>
        </p:txBody>
      </p:sp>
      <p:sp>
        <p:nvSpPr>
          <p:cNvPr id="16" name="Rounded Rectangle 9"/>
          <p:cNvSpPr/>
          <p:nvPr/>
        </p:nvSpPr>
        <p:spPr>
          <a:xfrm>
            <a:off x="5311609" y="2480185"/>
            <a:ext cx="3172669" cy="369266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lose Collision Cases</a:t>
            </a:r>
          </a:p>
        </p:txBody>
      </p:sp>
      <p:sp>
        <p:nvSpPr>
          <p:cNvPr id="17" name="Rounded Rectangle 9"/>
          <p:cNvSpPr/>
          <p:nvPr/>
        </p:nvSpPr>
        <p:spPr>
          <a:xfrm>
            <a:off x="530351" y="4987823"/>
            <a:ext cx="2628549" cy="369266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verging Maneuver</a:t>
            </a:r>
          </a:p>
        </p:txBody>
      </p:sp>
      <p:sp>
        <p:nvSpPr>
          <p:cNvPr id="18" name="Rounded Rectangle 9"/>
          <p:cNvSpPr/>
          <p:nvPr/>
        </p:nvSpPr>
        <p:spPr>
          <a:xfrm>
            <a:off x="6010536" y="4987823"/>
            <a:ext cx="2628549" cy="369266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Head On Approach</a:t>
            </a:r>
          </a:p>
        </p:txBody>
      </p:sp>
      <p:cxnSp>
        <p:nvCxnSpPr>
          <p:cNvPr id="20" name="Straight Arrow Connector 19"/>
          <p:cNvCxnSpPr>
            <a:cxnSpLocks/>
            <a:stCxn id="6" idx="3"/>
            <a:endCxn id="5" idx="1"/>
          </p:cNvCxnSpPr>
          <p:nvPr/>
        </p:nvCxnSpPr>
        <p:spPr>
          <a:xfrm flipV="1">
            <a:off x="1939204" y="2134256"/>
            <a:ext cx="333580" cy="267515"/>
          </a:xfrm>
          <a:prstGeom prst="curvedConnector3">
            <a:avLst>
              <a:gd name="adj1" fmla="val 15735"/>
            </a:avLst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>
            <a:cxnSpLocks/>
            <a:stCxn id="6" idx="3"/>
            <a:endCxn id="9" idx="1"/>
          </p:cNvCxnSpPr>
          <p:nvPr/>
        </p:nvCxnSpPr>
        <p:spPr>
          <a:xfrm>
            <a:off x="1939204" y="2401771"/>
            <a:ext cx="333580" cy="266557"/>
          </a:xfrm>
          <a:prstGeom prst="curvedConnector3">
            <a:avLst>
              <a:gd name="adj1" fmla="val 21006"/>
            </a:avLst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/>
          <p:cNvCxnSpPr>
            <a:cxnSpLocks/>
            <a:stCxn id="15" idx="2"/>
            <a:endCxn id="17" idx="0"/>
          </p:cNvCxnSpPr>
          <p:nvPr/>
        </p:nvCxnSpPr>
        <p:spPr>
          <a:xfrm rot="5400000">
            <a:off x="3845286" y="1935165"/>
            <a:ext cx="1051998" cy="5053318"/>
          </a:xfrm>
          <a:prstGeom prst="curvedConnector3">
            <a:avLst>
              <a:gd name="adj1" fmla="val 38299"/>
            </a:avLst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1" name="Straight Arrow Connector 26"/>
          <p:cNvCxnSpPr>
            <a:cxnSpLocks/>
            <a:stCxn id="15" idx="2"/>
            <a:endCxn id="13" idx="0"/>
          </p:cNvCxnSpPr>
          <p:nvPr/>
        </p:nvCxnSpPr>
        <p:spPr>
          <a:xfrm rot="5400000">
            <a:off x="5215332" y="3305211"/>
            <a:ext cx="1051998" cy="2313226"/>
          </a:xfrm>
          <a:prstGeom prst="curvedConnector3">
            <a:avLst>
              <a:gd name="adj1" fmla="val 50000"/>
            </a:avLst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4" name="Straight Arrow Connector 26"/>
          <p:cNvCxnSpPr>
            <a:cxnSpLocks/>
          </p:cNvCxnSpPr>
          <p:nvPr/>
        </p:nvCxnSpPr>
        <p:spPr>
          <a:xfrm rot="16200000" flipH="1">
            <a:off x="6585378" y="4257182"/>
            <a:ext cx="1051998" cy="426867"/>
          </a:xfrm>
          <a:prstGeom prst="curvedConnector3">
            <a:avLst>
              <a:gd name="adj1" fmla="val 44150"/>
            </a:avLst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9" name="Straight Arrow Connector 26"/>
          <p:cNvCxnSpPr>
            <a:cxnSpLocks/>
            <a:stCxn id="18" idx="2"/>
            <a:endCxn id="7" idx="3"/>
          </p:cNvCxnSpPr>
          <p:nvPr/>
        </p:nvCxnSpPr>
        <p:spPr>
          <a:xfrm rot="5400000">
            <a:off x="6443510" y="4812850"/>
            <a:ext cx="337063" cy="1425541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2" name="Straight Arrow Connector 26"/>
          <p:cNvCxnSpPr>
            <a:cxnSpLocks/>
            <a:stCxn id="18" idx="2"/>
            <a:endCxn id="12" idx="3"/>
          </p:cNvCxnSpPr>
          <p:nvPr/>
        </p:nvCxnSpPr>
        <p:spPr>
          <a:xfrm rot="5400000">
            <a:off x="6140006" y="5116354"/>
            <a:ext cx="944071" cy="1425541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5" name="Straight Arrow Connector 26"/>
          <p:cNvCxnSpPr>
            <a:cxnSpLocks/>
            <a:stCxn id="17" idx="2"/>
            <a:endCxn id="7" idx="1"/>
          </p:cNvCxnSpPr>
          <p:nvPr/>
        </p:nvCxnSpPr>
        <p:spPr>
          <a:xfrm rot="16200000" flipH="1">
            <a:off x="2389142" y="4812572"/>
            <a:ext cx="337063" cy="1426095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8" name="Straight Arrow Connector 26"/>
          <p:cNvCxnSpPr>
            <a:cxnSpLocks/>
            <a:stCxn id="17" idx="2"/>
            <a:endCxn id="12" idx="1"/>
          </p:cNvCxnSpPr>
          <p:nvPr/>
        </p:nvCxnSpPr>
        <p:spPr>
          <a:xfrm rot="16200000" flipH="1">
            <a:off x="2085638" y="5116076"/>
            <a:ext cx="944071" cy="1426095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61" name="Straight Arrow Connector 60"/>
          <p:cNvCxnSpPr>
            <a:cxnSpLocks/>
            <a:stCxn id="8" idx="3"/>
            <a:endCxn id="10" idx="1"/>
          </p:cNvCxnSpPr>
          <p:nvPr/>
        </p:nvCxnSpPr>
        <p:spPr>
          <a:xfrm>
            <a:off x="1941192" y="3495571"/>
            <a:ext cx="331592" cy="2518"/>
          </a:xfrm>
          <a:prstGeom prst="straightConnector1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5" name="Straight Arrow Connector 64"/>
          <p:cNvCxnSpPr>
            <a:cxnSpLocks/>
            <a:stCxn id="10" idx="3"/>
            <a:endCxn id="15" idx="1"/>
          </p:cNvCxnSpPr>
          <p:nvPr/>
        </p:nvCxnSpPr>
        <p:spPr>
          <a:xfrm>
            <a:off x="4892104" y="3498089"/>
            <a:ext cx="419505" cy="3456"/>
          </a:xfrm>
          <a:prstGeom prst="straightConnector1">
            <a:avLst/>
          </a:prstGeom>
          <a:ln w="38100" cmpd="sng">
            <a:solidFill>
              <a:srgbClr val="E4202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6" name="Straight Arrow Connector 65"/>
          <p:cNvCxnSpPr>
            <a:cxnSpLocks/>
            <a:stCxn id="9" idx="3"/>
            <a:endCxn id="16" idx="1"/>
          </p:cNvCxnSpPr>
          <p:nvPr/>
        </p:nvCxnSpPr>
        <p:spPr>
          <a:xfrm flipV="1">
            <a:off x="4892893" y="2664818"/>
            <a:ext cx="418716" cy="3510"/>
          </a:xfrm>
          <a:prstGeom prst="straightConnector1">
            <a:avLst/>
          </a:prstGeom>
          <a:ln w="38100" cmpd="sng">
            <a:solidFill>
              <a:srgbClr val="E4202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0" name="Straight Arrow Connector 69"/>
          <p:cNvCxnSpPr>
            <a:cxnSpLocks/>
            <a:stCxn id="5" idx="3"/>
            <a:endCxn id="14" idx="1"/>
          </p:cNvCxnSpPr>
          <p:nvPr/>
        </p:nvCxnSpPr>
        <p:spPr>
          <a:xfrm flipV="1">
            <a:off x="4892892" y="2134255"/>
            <a:ext cx="418717" cy="1"/>
          </a:xfrm>
          <a:prstGeom prst="straightConnector1">
            <a:avLst/>
          </a:prstGeom>
          <a:ln w="38100" cmpd="sng">
            <a:solidFill>
              <a:srgbClr val="E4202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3" name="Rounded Rectangle 9"/>
          <p:cNvSpPr/>
          <p:nvPr/>
        </p:nvSpPr>
        <p:spPr>
          <a:xfrm>
            <a:off x="534327" y="1396928"/>
            <a:ext cx="1406865" cy="363009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text</a:t>
            </a:r>
          </a:p>
        </p:txBody>
      </p:sp>
      <p:sp>
        <p:nvSpPr>
          <p:cNvPr id="74" name="Rounded Rectangle 9"/>
          <p:cNvSpPr/>
          <p:nvPr/>
        </p:nvSpPr>
        <p:spPr>
          <a:xfrm>
            <a:off x="2271996" y="1389714"/>
            <a:ext cx="2620108" cy="369266"/>
          </a:xfrm>
          <a:prstGeom prst="roundRect">
            <a:avLst/>
          </a:prstGeom>
          <a:solidFill>
            <a:srgbClr val="E42020"/>
          </a:solidFill>
          <a:ln>
            <a:solidFill>
              <a:srgbClr val="FF0000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cision Point</a:t>
            </a:r>
          </a:p>
        </p:txBody>
      </p:sp>
      <p:sp>
        <p:nvSpPr>
          <p:cNvPr id="76" name="Rounded Rectangle 9"/>
          <p:cNvSpPr/>
          <p:nvPr/>
        </p:nvSpPr>
        <p:spPr>
          <a:xfrm>
            <a:off x="5311608" y="1396662"/>
            <a:ext cx="3172669" cy="369266"/>
          </a:xfrm>
          <a:prstGeom prst="round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</a:t>
            </a:r>
          </a:p>
        </p:txBody>
      </p:sp>
      <p:sp>
        <p:nvSpPr>
          <p:cNvPr id="77" name="TextBox 76"/>
          <p:cNvSpPr txBox="1"/>
          <p:nvPr/>
        </p:nvSpPr>
        <p:spPr>
          <a:xfrm>
            <a:off x="476893" y="4122624"/>
            <a:ext cx="200567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>
                    <a:lumMod val="50000"/>
                  </a:schemeClr>
                </a:solidFill>
              </a:rPr>
              <a:t>Invoke based on: </a:t>
            </a:r>
          </a:p>
          <a:p>
            <a:r>
              <a:rPr lang="en-US" dirty="0">
                <a:solidFill>
                  <a:schemeClr val="accent3">
                    <a:lumMod val="50000"/>
                  </a:schemeClr>
                </a:solidFill>
              </a:rPr>
              <a:t>Avoidance role</a:t>
            </a:r>
          </a:p>
        </p:txBody>
      </p:sp>
      <p:sp>
        <p:nvSpPr>
          <p:cNvPr id="78" name="TextBox 77"/>
          <p:cNvSpPr txBox="1"/>
          <p:nvPr/>
        </p:nvSpPr>
        <p:spPr>
          <a:xfrm>
            <a:off x="476893" y="5875522"/>
            <a:ext cx="16979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>
                    <a:lumMod val="50000"/>
                  </a:schemeClr>
                </a:solidFill>
              </a:rPr>
              <a:t>Forced invoke:</a:t>
            </a:r>
          </a:p>
        </p:txBody>
      </p:sp>
      <p:cxnSp>
        <p:nvCxnSpPr>
          <p:cNvPr id="35" name="Straight Arrow Connector 34"/>
          <p:cNvCxnSpPr>
            <a:cxnSpLocks/>
          </p:cNvCxnSpPr>
          <p:nvPr/>
        </p:nvCxnSpPr>
        <p:spPr>
          <a:xfrm>
            <a:off x="1943990" y="1591606"/>
            <a:ext cx="331592" cy="2518"/>
          </a:xfrm>
          <a:prstGeom prst="straightConnector1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cxnSpLocks/>
          </p:cNvCxnSpPr>
          <p:nvPr/>
        </p:nvCxnSpPr>
        <p:spPr>
          <a:xfrm>
            <a:off x="4892893" y="1593077"/>
            <a:ext cx="419505" cy="3456"/>
          </a:xfrm>
          <a:prstGeom prst="straightConnector1">
            <a:avLst/>
          </a:prstGeom>
          <a:ln w="38100" cmpd="sng">
            <a:solidFill>
              <a:srgbClr val="E4202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26"/>
          <p:cNvCxnSpPr>
            <a:cxnSpLocks/>
            <a:stCxn id="76" idx="0"/>
            <a:endCxn id="76" idx="3"/>
          </p:cNvCxnSpPr>
          <p:nvPr/>
        </p:nvCxnSpPr>
        <p:spPr>
          <a:xfrm rot="16200000" flipH="1">
            <a:off x="7598793" y="695811"/>
            <a:ext cx="184633" cy="1586334"/>
          </a:xfrm>
          <a:prstGeom prst="bentConnector4">
            <a:avLst>
              <a:gd name="adj1" fmla="val -123813"/>
              <a:gd name="adj2" fmla="val 114411"/>
            </a:avLst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1856512" y="1125415"/>
            <a:ext cx="5309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0..*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4883649" y="1119553"/>
            <a:ext cx="5309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0..*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8639085" y="1125415"/>
            <a:ext cx="5309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0..*</a:t>
            </a:r>
          </a:p>
        </p:txBody>
      </p:sp>
    </p:spTree>
    <p:extLst>
      <p:ext uri="{BB962C8B-B14F-4D97-AF65-F5344CB8AC3E}">
        <p14:creationId xmlns:p14="http://schemas.microsoft.com/office/powerpoint/2010/main" val="18826854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7</a:t>
            </a:fld>
            <a:endParaRPr lang="en-US" dirty="0"/>
          </a:p>
        </p:txBody>
      </p:sp>
      <p:sp>
        <p:nvSpPr>
          <p:cNvPr id="5" name="Pie 15"/>
          <p:cNvSpPr/>
          <p:nvPr/>
        </p:nvSpPr>
        <p:spPr>
          <a:xfrm>
            <a:off x="959955" y="92522"/>
            <a:ext cx="3014039" cy="3014039"/>
          </a:xfrm>
          <a:prstGeom prst="pie">
            <a:avLst>
              <a:gd name="adj1" fmla="val 0"/>
              <a:gd name="adj2" fmla="val 5375887"/>
            </a:avLst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19300" y="5351733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6962775" y="1132158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>
            <a:stCxn id="7" idx="0"/>
          </p:cNvCxnSpPr>
          <p:nvPr/>
        </p:nvCxnSpPr>
        <p:spPr>
          <a:xfrm flipH="1">
            <a:off x="228600" y="1599542"/>
            <a:ext cx="6714466" cy="658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9" name="Straight Connector 8"/>
          <p:cNvCxnSpPr>
            <a:endCxn id="6" idx="0"/>
          </p:cNvCxnSpPr>
          <p:nvPr/>
        </p:nvCxnSpPr>
        <p:spPr>
          <a:xfrm>
            <a:off x="2466975" y="1009650"/>
            <a:ext cx="0" cy="4342083"/>
          </a:xfrm>
          <a:prstGeom prst="line">
            <a:avLst/>
          </a:pr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/>
              <p:cNvSpPr txBox="1"/>
              <p:nvPr/>
            </p:nvSpPr>
            <p:spPr>
              <a:xfrm>
                <a:off x="2655065" y="2099215"/>
                <a:ext cx="962251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70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p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1" name="TextBox 1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55065" y="2099215"/>
                <a:ext cx="962251" cy="276999"/>
              </a:xfrm>
              <a:prstGeom prst="rect">
                <a:avLst/>
              </a:prstGeom>
              <a:blipFill>
                <a:blip r:embed="rId3"/>
                <a:stretch>
                  <a:fillRect l="-637" b="-1304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Oval 11"/>
          <p:cNvSpPr/>
          <p:nvPr/>
        </p:nvSpPr>
        <p:spPr>
          <a:xfrm>
            <a:off x="2343150" y="147637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520005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8</a:t>
            </a:fld>
            <a:endParaRPr lang="en-US" dirty="0"/>
          </a:p>
        </p:txBody>
      </p:sp>
      <p:pic>
        <p:nvPicPr>
          <p:cNvPr id="5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19300" y="5351733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6962775" y="1132158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Connector 6"/>
          <p:cNvCxnSpPr>
            <a:stCxn id="6" idx="0"/>
          </p:cNvCxnSpPr>
          <p:nvPr/>
        </p:nvCxnSpPr>
        <p:spPr>
          <a:xfrm flipH="1">
            <a:off x="228600" y="1599542"/>
            <a:ext cx="6714466" cy="658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8" name="Oval 7"/>
          <p:cNvSpPr/>
          <p:nvPr/>
        </p:nvSpPr>
        <p:spPr>
          <a:xfrm>
            <a:off x="2343150" y="147637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7"/>
          <p:cNvSpPr/>
          <p:nvPr/>
        </p:nvSpPr>
        <p:spPr>
          <a:xfrm>
            <a:off x="2470150" y="2489200"/>
            <a:ext cx="5334000" cy="2870200"/>
          </a:xfrm>
          <a:custGeom>
            <a:avLst/>
            <a:gdLst>
              <a:gd name="connsiteX0" fmla="*/ 0 w 5334000"/>
              <a:gd name="connsiteY0" fmla="*/ 2870200 h 2870200"/>
              <a:gd name="connsiteX1" fmla="*/ 1327150 w 5334000"/>
              <a:gd name="connsiteY1" fmla="*/ 457200 h 2870200"/>
              <a:gd name="connsiteX2" fmla="*/ 5334000 w 5334000"/>
              <a:gd name="connsiteY2" fmla="*/ 0 h 2870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334000" h="2870200">
                <a:moveTo>
                  <a:pt x="0" y="2870200"/>
                </a:moveTo>
                <a:cubicBezTo>
                  <a:pt x="219075" y="1902883"/>
                  <a:pt x="438150" y="935567"/>
                  <a:pt x="1327150" y="457200"/>
                </a:cubicBezTo>
                <a:cubicBezTo>
                  <a:pt x="2216150" y="-21167"/>
                  <a:pt x="4552950" y="164042"/>
                  <a:pt x="5334000" y="0"/>
                </a:cubicBezTo>
              </a:path>
            </a:pathLst>
          </a:custGeom>
          <a:ln>
            <a:prstDash val="dash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ed Rectangle 16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urn right and stay away from approaching aircraft</a:t>
            </a:r>
          </a:p>
        </p:txBody>
      </p:sp>
    </p:spTree>
    <p:extLst>
      <p:ext uri="{BB962C8B-B14F-4D97-AF65-F5344CB8AC3E}">
        <p14:creationId xmlns:p14="http://schemas.microsoft.com/office/powerpoint/2010/main" val="2074961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 problem, I know a map of my surroundings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6792" y="856418"/>
            <a:ext cx="4782183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1] Path planning problem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. Get map of surrounding area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. Find shortest path between waypoints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Use the safe routes [Optional]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chemeClr val="accent3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2833352" y="3012528"/>
            <a:ext cx="2207818" cy="715089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th to  restaurant</a:t>
            </a:r>
          </a:p>
        </p:txBody>
      </p:sp>
    </p:spTree>
    <p:extLst>
      <p:ext uri="{BB962C8B-B14F-4D97-AF65-F5344CB8AC3E}">
        <p14:creationId xmlns:p14="http://schemas.microsoft.com/office/powerpoint/2010/main" val="38341410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– Leave cond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9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H="1" flipV="1">
            <a:off x="755650" y="1615245"/>
            <a:ext cx="6127750" cy="1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6" name="Freeform 2"/>
          <p:cNvSpPr/>
          <p:nvPr/>
        </p:nvSpPr>
        <p:spPr>
          <a:xfrm>
            <a:off x="2457450" y="2743200"/>
            <a:ext cx="1968500" cy="2628900"/>
          </a:xfrm>
          <a:custGeom>
            <a:avLst/>
            <a:gdLst>
              <a:gd name="connsiteX0" fmla="*/ 0 w 1968500"/>
              <a:gd name="connsiteY0" fmla="*/ 2628900 h 2628900"/>
              <a:gd name="connsiteX1" fmla="*/ 361950 w 1968500"/>
              <a:gd name="connsiteY1" fmla="*/ 1346200 h 2628900"/>
              <a:gd name="connsiteX2" fmla="*/ 1066800 w 1968500"/>
              <a:gd name="connsiteY2" fmla="*/ 381000 h 2628900"/>
              <a:gd name="connsiteX3" fmla="*/ 1968500 w 1968500"/>
              <a:gd name="connsiteY3" fmla="*/ 0 h 2628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68500" h="2628900">
                <a:moveTo>
                  <a:pt x="0" y="2628900"/>
                </a:moveTo>
                <a:cubicBezTo>
                  <a:pt x="92075" y="2174875"/>
                  <a:pt x="184150" y="1720850"/>
                  <a:pt x="361950" y="1346200"/>
                </a:cubicBezTo>
                <a:cubicBezTo>
                  <a:pt x="539750" y="971550"/>
                  <a:pt x="799042" y="605367"/>
                  <a:pt x="1066800" y="381000"/>
                </a:cubicBezTo>
                <a:cubicBezTo>
                  <a:pt x="1334558" y="156633"/>
                  <a:pt x="1893358" y="29633"/>
                  <a:pt x="1968500" y="0"/>
                </a:cubicBezTo>
              </a:path>
            </a:pathLst>
          </a:custGeom>
          <a:ln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3901945">
            <a:off x="3448049" y="2479062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>
            <a:stCxn id="9" idx="0"/>
          </p:cNvCxnSpPr>
          <p:nvPr/>
        </p:nvCxnSpPr>
        <p:spPr>
          <a:xfrm flipV="1">
            <a:off x="1990066" y="1615245"/>
            <a:ext cx="4893334" cy="635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9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2009775" y="1154211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8"/>
          <p:cNvSpPr/>
          <p:nvPr/>
        </p:nvSpPr>
        <p:spPr>
          <a:xfrm>
            <a:off x="4406900" y="1079500"/>
            <a:ext cx="1986164" cy="1663700"/>
          </a:xfrm>
          <a:custGeom>
            <a:avLst/>
            <a:gdLst>
              <a:gd name="connsiteX0" fmla="*/ 0 w 1986164"/>
              <a:gd name="connsiteY0" fmla="*/ 1663700 h 1663700"/>
              <a:gd name="connsiteX1" fmla="*/ 1320800 w 1986164"/>
              <a:gd name="connsiteY1" fmla="*/ 1174750 h 1663700"/>
              <a:gd name="connsiteX2" fmla="*/ 1860550 w 1986164"/>
              <a:gd name="connsiteY2" fmla="*/ 787400 h 1663700"/>
              <a:gd name="connsiteX3" fmla="*/ 1962150 w 1986164"/>
              <a:gd name="connsiteY3" fmla="*/ 273050 h 1663700"/>
              <a:gd name="connsiteX4" fmla="*/ 1511300 w 1986164"/>
              <a:gd name="connsiteY4" fmla="*/ 0 h 1663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86164" h="1663700">
                <a:moveTo>
                  <a:pt x="0" y="1663700"/>
                </a:moveTo>
                <a:cubicBezTo>
                  <a:pt x="505354" y="1492250"/>
                  <a:pt x="1010708" y="1320800"/>
                  <a:pt x="1320800" y="1174750"/>
                </a:cubicBezTo>
                <a:cubicBezTo>
                  <a:pt x="1630892" y="1028700"/>
                  <a:pt x="1753658" y="937683"/>
                  <a:pt x="1860550" y="787400"/>
                </a:cubicBezTo>
                <a:cubicBezTo>
                  <a:pt x="1967442" y="637117"/>
                  <a:pt x="2020358" y="404283"/>
                  <a:pt x="1962150" y="273050"/>
                </a:cubicBezTo>
                <a:cubicBezTo>
                  <a:pt x="1903942" y="141817"/>
                  <a:pt x="1600200" y="37042"/>
                  <a:pt x="1511300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ounded Rectangle 12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turn to original path behind other aircraft</a:t>
            </a:r>
          </a:p>
        </p:txBody>
      </p:sp>
    </p:spTree>
    <p:extLst>
      <p:ext uri="{BB962C8B-B14F-4D97-AF65-F5344CB8AC3E}">
        <p14:creationId xmlns:p14="http://schemas.microsoft.com/office/powerpoint/2010/main" val="3008459059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</a:t>
            </a:r>
            <a:br>
              <a:rPr lang="en-US" dirty="0"/>
            </a:br>
            <a:r>
              <a:rPr lang="en-US" dirty="0"/>
              <a:t>	Converging </a:t>
            </a:r>
            <a:r>
              <a:rPr lang="en-US" dirty="0" err="1"/>
              <a:t>Manuever</a:t>
            </a:r>
            <a:endParaRPr lang="en-US" dirty="0"/>
          </a:p>
        </p:txBody>
      </p:sp>
      <p:pic>
        <p:nvPicPr>
          <p:cNvPr id="5" name="ruleConverging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4"/>
          <a:srcRect l="17320" r="16796"/>
          <a:stretch/>
        </p:blipFill>
        <p:spPr>
          <a:xfrm>
            <a:off x="1318845" y="1222254"/>
            <a:ext cx="6594231" cy="562930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06770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61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1</a:t>
            </a:fld>
            <a:endParaRPr lang="en-US" dirty="0"/>
          </a:p>
        </p:txBody>
      </p:sp>
      <p:pic>
        <p:nvPicPr>
          <p:cNvPr id="5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5400000">
            <a:off x="534287" y="289340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7702281" y="289340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6"/>
          <p:cNvSpPr/>
          <p:nvPr/>
        </p:nvSpPr>
        <p:spPr>
          <a:xfrm>
            <a:off x="3065771" y="1860602"/>
            <a:ext cx="3000375" cy="3000375"/>
          </a:xfrm>
          <a:prstGeom prst="ellipse">
            <a:avLst/>
          </a:prstGeom>
          <a:ln>
            <a:solidFill>
              <a:srgbClr val="FF0000"/>
            </a:solidFill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Pie 14"/>
          <p:cNvSpPr/>
          <p:nvPr/>
        </p:nvSpPr>
        <p:spPr>
          <a:xfrm>
            <a:off x="3133725" y="1897088"/>
            <a:ext cx="2932421" cy="2927402"/>
          </a:xfrm>
          <a:prstGeom prst="pie">
            <a:avLst>
              <a:gd name="adj1" fmla="val 10800000"/>
              <a:gd name="adj2" fmla="val 5143"/>
            </a:avLst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Freeform 16"/>
          <p:cNvSpPr/>
          <p:nvPr/>
        </p:nvSpPr>
        <p:spPr>
          <a:xfrm>
            <a:off x="1438275" y="3362325"/>
            <a:ext cx="6238875" cy="1612112"/>
          </a:xfrm>
          <a:custGeom>
            <a:avLst/>
            <a:gdLst>
              <a:gd name="connsiteX0" fmla="*/ 0 w 6238875"/>
              <a:gd name="connsiteY0" fmla="*/ 0 h 1612112"/>
              <a:gd name="connsiteX1" fmla="*/ 781050 w 6238875"/>
              <a:gd name="connsiteY1" fmla="*/ 266700 h 1612112"/>
              <a:gd name="connsiteX2" fmla="*/ 1609725 w 6238875"/>
              <a:gd name="connsiteY2" fmla="*/ 781050 h 1612112"/>
              <a:gd name="connsiteX3" fmla="*/ 2219325 w 6238875"/>
              <a:gd name="connsiteY3" fmla="*/ 1314450 h 1612112"/>
              <a:gd name="connsiteX4" fmla="*/ 3305175 w 6238875"/>
              <a:gd name="connsiteY4" fmla="*/ 1609725 h 1612112"/>
              <a:gd name="connsiteX5" fmla="*/ 4210050 w 6238875"/>
              <a:gd name="connsiteY5" fmla="*/ 1162050 h 1612112"/>
              <a:gd name="connsiteX6" fmla="*/ 4686300 w 6238875"/>
              <a:gd name="connsiteY6" fmla="*/ 428625 h 1612112"/>
              <a:gd name="connsiteX7" fmla="*/ 5038725 w 6238875"/>
              <a:gd name="connsiteY7" fmla="*/ 76200 h 1612112"/>
              <a:gd name="connsiteX8" fmla="*/ 5848350 w 6238875"/>
              <a:gd name="connsiteY8" fmla="*/ 19050 h 1612112"/>
              <a:gd name="connsiteX9" fmla="*/ 6238875 w 6238875"/>
              <a:gd name="connsiteY9" fmla="*/ 19050 h 16121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238875" h="1612112">
                <a:moveTo>
                  <a:pt x="0" y="0"/>
                </a:moveTo>
                <a:cubicBezTo>
                  <a:pt x="256381" y="68262"/>
                  <a:pt x="512763" y="136525"/>
                  <a:pt x="781050" y="266700"/>
                </a:cubicBezTo>
                <a:cubicBezTo>
                  <a:pt x="1049338" y="396875"/>
                  <a:pt x="1370013" y="606425"/>
                  <a:pt x="1609725" y="781050"/>
                </a:cubicBezTo>
                <a:cubicBezTo>
                  <a:pt x="1849437" y="955675"/>
                  <a:pt x="1936750" y="1176338"/>
                  <a:pt x="2219325" y="1314450"/>
                </a:cubicBezTo>
                <a:cubicBezTo>
                  <a:pt x="2501900" y="1452562"/>
                  <a:pt x="2973388" y="1635125"/>
                  <a:pt x="3305175" y="1609725"/>
                </a:cubicBezTo>
                <a:cubicBezTo>
                  <a:pt x="3636962" y="1584325"/>
                  <a:pt x="3979863" y="1358900"/>
                  <a:pt x="4210050" y="1162050"/>
                </a:cubicBezTo>
                <a:cubicBezTo>
                  <a:pt x="4440238" y="965200"/>
                  <a:pt x="4548188" y="609600"/>
                  <a:pt x="4686300" y="428625"/>
                </a:cubicBezTo>
                <a:cubicBezTo>
                  <a:pt x="4824412" y="247650"/>
                  <a:pt x="4845050" y="144462"/>
                  <a:pt x="5038725" y="76200"/>
                </a:cubicBezTo>
                <a:cubicBezTo>
                  <a:pt x="5232400" y="7938"/>
                  <a:pt x="5648325" y="28575"/>
                  <a:pt x="5848350" y="19050"/>
                </a:cubicBezTo>
                <a:cubicBezTo>
                  <a:pt x="6048375" y="9525"/>
                  <a:pt x="6238875" y="19050"/>
                  <a:pt x="6238875" y="19050"/>
                </a:cubicBezTo>
              </a:path>
            </a:pathLst>
          </a:cu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 18"/>
          <p:cNvSpPr/>
          <p:nvPr/>
        </p:nvSpPr>
        <p:spPr>
          <a:xfrm>
            <a:off x="1638300" y="1789199"/>
            <a:ext cx="6048375" cy="1614401"/>
          </a:xfrm>
          <a:custGeom>
            <a:avLst/>
            <a:gdLst>
              <a:gd name="connsiteX0" fmla="*/ 6048375 w 6048375"/>
              <a:gd name="connsiteY0" fmla="*/ 1563601 h 1614401"/>
              <a:gd name="connsiteX1" fmla="*/ 4905375 w 6048375"/>
              <a:gd name="connsiteY1" fmla="*/ 649201 h 1614401"/>
              <a:gd name="connsiteX2" fmla="*/ 3552825 w 6048375"/>
              <a:gd name="connsiteY2" fmla="*/ 125326 h 1614401"/>
              <a:gd name="connsiteX3" fmla="*/ 2676525 w 6048375"/>
              <a:gd name="connsiteY3" fmla="*/ 20551 h 1614401"/>
              <a:gd name="connsiteX4" fmla="*/ 1724025 w 6048375"/>
              <a:gd name="connsiteY4" fmla="*/ 439651 h 1614401"/>
              <a:gd name="connsiteX5" fmla="*/ 1190625 w 6048375"/>
              <a:gd name="connsiteY5" fmla="*/ 1068301 h 1614401"/>
              <a:gd name="connsiteX6" fmla="*/ 781050 w 6048375"/>
              <a:gd name="connsiteY6" fmla="*/ 1439776 h 1614401"/>
              <a:gd name="connsiteX7" fmla="*/ 342900 w 6048375"/>
              <a:gd name="connsiteY7" fmla="*/ 1582651 h 1614401"/>
              <a:gd name="connsiteX8" fmla="*/ 190500 w 6048375"/>
              <a:gd name="connsiteY8" fmla="*/ 1582651 h 1614401"/>
              <a:gd name="connsiteX9" fmla="*/ 0 w 6048375"/>
              <a:gd name="connsiteY9" fmla="*/ 1582651 h 1614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48375" h="1614401">
                <a:moveTo>
                  <a:pt x="6048375" y="1563601"/>
                </a:moveTo>
                <a:cubicBezTo>
                  <a:pt x="5684837" y="1226257"/>
                  <a:pt x="5321300" y="888914"/>
                  <a:pt x="4905375" y="649201"/>
                </a:cubicBezTo>
                <a:cubicBezTo>
                  <a:pt x="4489450" y="409488"/>
                  <a:pt x="3924300" y="230101"/>
                  <a:pt x="3552825" y="125326"/>
                </a:cubicBezTo>
                <a:cubicBezTo>
                  <a:pt x="3181350" y="20551"/>
                  <a:pt x="2981325" y="-31836"/>
                  <a:pt x="2676525" y="20551"/>
                </a:cubicBezTo>
                <a:cubicBezTo>
                  <a:pt x="2371725" y="72938"/>
                  <a:pt x="1971675" y="265026"/>
                  <a:pt x="1724025" y="439651"/>
                </a:cubicBezTo>
                <a:cubicBezTo>
                  <a:pt x="1476375" y="614276"/>
                  <a:pt x="1347787" y="901614"/>
                  <a:pt x="1190625" y="1068301"/>
                </a:cubicBezTo>
                <a:cubicBezTo>
                  <a:pt x="1033463" y="1234988"/>
                  <a:pt x="922337" y="1354051"/>
                  <a:pt x="781050" y="1439776"/>
                </a:cubicBezTo>
                <a:cubicBezTo>
                  <a:pt x="639762" y="1525501"/>
                  <a:pt x="441325" y="1558838"/>
                  <a:pt x="342900" y="1582651"/>
                </a:cubicBezTo>
                <a:cubicBezTo>
                  <a:pt x="244475" y="1606464"/>
                  <a:pt x="190500" y="1582651"/>
                  <a:pt x="190500" y="1582651"/>
                </a:cubicBezTo>
                <a:cubicBezTo>
                  <a:pt x="133350" y="1582651"/>
                  <a:pt x="134937" y="1654089"/>
                  <a:pt x="0" y="1582651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ounded Rectangle 19"/>
              <p:cNvSpPr/>
              <p:nvPr/>
            </p:nvSpPr>
            <p:spPr>
              <a:xfrm>
                <a:off x="5762625" y="5099797"/>
                <a:ext cx="2971800" cy="1120616"/>
              </a:xfrm>
              <a:prstGeom prst="roundRect">
                <a:avLst/>
              </a:prstGeom>
              <a:solidFill>
                <a:srgbClr val="FF0000"/>
              </a:solidFill>
              <a:ln/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/>
                  <a:t>Applies when angle of approach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𝛼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≥</m:t>
                    </m:r>
                    <m:sSup>
                      <m:sSup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130</m:t>
                        </m:r>
                      </m:e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𝑜</m:t>
                        </m:r>
                      </m:sup>
                    </m:sSup>
                  </m:oMath>
                </a14:m>
                <a:r>
                  <a:rPr lang="en-US" b="0" dirty="0"/>
                  <a:t>, Safety margi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𝑚</m:t>
                        </m:r>
                      </m:sub>
                    </m:sSub>
                  </m:oMath>
                </a14:m>
                <a:r>
                  <a:rPr lang="en-US" b="0" dirty="0"/>
                  <a:t> is given as (2x) 5m</a:t>
                </a:r>
              </a:p>
            </p:txBody>
          </p:sp>
        </mc:Choice>
        <mc:Fallback xmlns="">
          <p:sp>
            <p:nvSpPr>
              <p:cNvPr id="11" name="Rounded Rectangle 1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62625" y="5099797"/>
                <a:ext cx="2971800" cy="1120616"/>
              </a:xfrm>
              <a:prstGeom prst="roundRect">
                <a:avLst/>
              </a:prstGeom>
              <a:blipFill>
                <a:blip r:embed="rId3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Oval 11"/>
          <p:cNvSpPr/>
          <p:nvPr/>
        </p:nvSpPr>
        <p:spPr>
          <a:xfrm>
            <a:off x="4442134" y="323696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3" name="Straight Arrow Connector 12"/>
          <p:cNvCxnSpPr>
            <a:stCxn id="12" idx="5"/>
          </p:cNvCxnSpPr>
          <p:nvPr/>
        </p:nvCxnSpPr>
        <p:spPr>
          <a:xfrm>
            <a:off x="4653516" y="3448347"/>
            <a:ext cx="973235" cy="9732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/>
              <p:cNvSpPr txBox="1"/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4" name="TextBox 1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blipFill>
                <a:blip r:embed="rId4"/>
                <a:stretch>
                  <a:fillRect l="-325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4062102" y="2650791"/>
                <a:ext cx="1007712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130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p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62102" y="2650791"/>
                <a:ext cx="1007712" cy="276999"/>
              </a:xfrm>
              <a:prstGeom prst="rect">
                <a:avLst/>
              </a:prstGeom>
              <a:blipFill>
                <a:blip r:embed="rId5"/>
                <a:stretch>
                  <a:fillRect l="-2410" b="-1333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627688488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2</a:t>
            </a:fld>
            <a:endParaRPr lang="en-US" dirty="0"/>
          </a:p>
        </p:txBody>
      </p:sp>
      <p:sp>
        <p:nvSpPr>
          <p:cNvPr id="5" name="Oval 4"/>
          <p:cNvSpPr/>
          <p:nvPr/>
        </p:nvSpPr>
        <p:spPr>
          <a:xfrm>
            <a:off x="3065771" y="1860602"/>
            <a:ext cx="3000375" cy="3000375"/>
          </a:xfrm>
          <a:prstGeom prst="ellipse">
            <a:avLst/>
          </a:prstGeom>
          <a:ln>
            <a:solidFill>
              <a:srgbClr val="FF0000"/>
            </a:solidFill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val 5"/>
          <p:cNvSpPr/>
          <p:nvPr/>
        </p:nvSpPr>
        <p:spPr>
          <a:xfrm>
            <a:off x="4442134" y="323696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3994459" y="901197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2"/>
          <p:cNvSpPr/>
          <p:nvPr/>
        </p:nvSpPr>
        <p:spPr>
          <a:xfrm>
            <a:off x="5000625" y="3590925"/>
            <a:ext cx="3857625" cy="1828800"/>
          </a:xfrm>
          <a:custGeom>
            <a:avLst/>
            <a:gdLst>
              <a:gd name="connsiteX0" fmla="*/ 0 w 3857625"/>
              <a:gd name="connsiteY0" fmla="*/ 1828800 h 1828800"/>
              <a:gd name="connsiteX1" fmla="*/ 1123950 w 3857625"/>
              <a:gd name="connsiteY1" fmla="*/ 581025 h 1828800"/>
              <a:gd name="connsiteX2" fmla="*/ 1857375 w 3857625"/>
              <a:gd name="connsiteY2" fmla="*/ 114300 h 1828800"/>
              <a:gd name="connsiteX3" fmla="*/ 3857625 w 3857625"/>
              <a:gd name="connsiteY3" fmla="*/ 0 h 182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57625" h="1828800">
                <a:moveTo>
                  <a:pt x="0" y="1828800"/>
                </a:moveTo>
                <a:cubicBezTo>
                  <a:pt x="407194" y="1347787"/>
                  <a:pt x="814388" y="866775"/>
                  <a:pt x="1123950" y="581025"/>
                </a:cubicBezTo>
                <a:cubicBezTo>
                  <a:pt x="1433512" y="295275"/>
                  <a:pt x="1401763" y="211137"/>
                  <a:pt x="1857375" y="114300"/>
                </a:cubicBezTo>
                <a:cubicBezTo>
                  <a:pt x="2312988" y="17462"/>
                  <a:pt x="3522663" y="20637"/>
                  <a:pt x="3857625" y="0"/>
                </a:cubicBezTo>
              </a:path>
            </a:pathLst>
          </a:cu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6"/>
          <p:cNvSpPr/>
          <p:nvPr/>
        </p:nvSpPr>
        <p:spPr>
          <a:xfrm>
            <a:off x="314325" y="1352550"/>
            <a:ext cx="3676650" cy="2033740"/>
          </a:xfrm>
          <a:custGeom>
            <a:avLst/>
            <a:gdLst>
              <a:gd name="connsiteX0" fmla="*/ 3676650 w 3676650"/>
              <a:gd name="connsiteY0" fmla="*/ 0 h 2033740"/>
              <a:gd name="connsiteX1" fmla="*/ 2295525 w 3676650"/>
              <a:gd name="connsiteY1" fmla="*/ 504825 h 2033740"/>
              <a:gd name="connsiteX2" fmla="*/ 1457325 w 3676650"/>
              <a:gd name="connsiteY2" fmla="*/ 1781175 h 2033740"/>
              <a:gd name="connsiteX3" fmla="*/ 0 w 3676650"/>
              <a:gd name="connsiteY3" fmla="*/ 2019300 h 20337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76650" h="2033740">
                <a:moveTo>
                  <a:pt x="3676650" y="0"/>
                </a:moveTo>
                <a:cubicBezTo>
                  <a:pt x="3171031" y="103981"/>
                  <a:pt x="2665412" y="207963"/>
                  <a:pt x="2295525" y="504825"/>
                </a:cubicBezTo>
                <a:cubicBezTo>
                  <a:pt x="1925638" y="801687"/>
                  <a:pt x="1839913" y="1528762"/>
                  <a:pt x="1457325" y="1781175"/>
                </a:cubicBezTo>
                <a:cubicBezTo>
                  <a:pt x="1074737" y="2033588"/>
                  <a:pt x="603250" y="2057400"/>
                  <a:pt x="0" y="201930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2924642">
            <a:off x="4318308" y="5145084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ounded Rectangle 17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oth vehicles are taking right side avoidance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4653516" y="3448347"/>
            <a:ext cx="973235" cy="9732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/>
              <p:cNvSpPr txBox="1"/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3" name="TextBox 1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blipFill>
                <a:blip r:embed="rId3"/>
                <a:stretch>
                  <a:fillRect l="-325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662760877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</a:t>
            </a:r>
            <a:br>
              <a:rPr lang="en-US" dirty="0"/>
            </a:br>
            <a:r>
              <a:rPr lang="en-US" dirty="0"/>
              <a:t>	Head On Approach</a:t>
            </a:r>
          </a:p>
        </p:txBody>
      </p:sp>
      <p:pic>
        <p:nvPicPr>
          <p:cNvPr id="5" name="ruleHeadOn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4"/>
          <a:srcRect t="17287" b="17441"/>
          <a:stretch/>
        </p:blipFill>
        <p:spPr>
          <a:xfrm>
            <a:off x="0" y="2154115"/>
            <a:ext cx="9172663" cy="3367454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74947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4083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operative separation 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4</a:t>
            </a:fld>
            <a:endParaRPr lang="en-US" dirty="0"/>
          </a:p>
        </p:txBody>
      </p:sp>
      <p:pic>
        <p:nvPicPr>
          <p:cNvPr id="5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97454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5742903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980197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8" y="574356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1050751" y="153054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1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050751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2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401728" y="154185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3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401728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4</a:t>
            </a:r>
          </a:p>
        </p:txBody>
      </p:sp>
      <p:sp>
        <p:nvSpPr>
          <p:cNvPr id="13" name="Rounded Rectangle 9"/>
          <p:cNvSpPr/>
          <p:nvPr/>
        </p:nvSpPr>
        <p:spPr>
          <a:xfrm>
            <a:off x="3649460" y="3029395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Traffic Management</a:t>
            </a:r>
          </a:p>
        </p:txBody>
      </p:sp>
      <p:cxnSp>
        <p:nvCxnSpPr>
          <p:cNvPr id="15" name="Straight Arrow Connector 14"/>
          <p:cNvCxnSpPr>
            <a:cxnSpLocks/>
            <a:stCxn id="5" idx="3"/>
            <a:endCxn id="13" idx="0"/>
          </p:cNvCxnSpPr>
          <p:nvPr/>
        </p:nvCxnSpPr>
        <p:spPr>
          <a:xfrm>
            <a:off x="2156846" y="1193483"/>
            <a:ext cx="2398625" cy="1835912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9" name="Straight Arrow Connector 14"/>
          <p:cNvCxnSpPr>
            <a:cxnSpLocks/>
            <a:stCxn id="7" idx="1"/>
            <a:endCxn id="13" idx="0"/>
          </p:cNvCxnSpPr>
          <p:nvPr/>
        </p:nvCxnSpPr>
        <p:spPr>
          <a:xfrm rot="10800000" flipV="1">
            <a:off x="4555471" y="1199137"/>
            <a:ext cx="2591678" cy="1830257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2" name="Straight Arrow Connector 14"/>
          <p:cNvCxnSpPr>
            <a:cxnSpLocks/>
            <a:stCxn id="8" idx="1"/>
            <a:endCxn id="13" idx="2"/>
          </p:cNvCxnSpPr>
          <p:nvPr/>
        </p:nvCxnSpPr>
        <p:spPr>
          <a:xfrm rot="10800000">
            <a:off x="4555472" y="3943795"/>
            <a:ext cx="2591677" cy="2018708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14"/>
          <p:cNvCxnSpPr>
            <a:cxnSpLocks/>
            <a:stCxn id="6" idx="3"/>
            <a:endCxn id="13" idx="2"/>
          </p:cNvCxnSpPr>
          <p:nvPr/>
        </p:nvCxnSpPr>
        <p:spPr>
          <a:xfrm flipV="1">
            <a:off x="2156846" y="3943795"/>
            <a:ext cx="2398625" cy="2018049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2" name="Connector: Curved 31"/>
          <p:cNvCxnSpPr>
            <a:cxnSpLocks/>
            <a:stCxn id="13" idx="3"/>
            <a:endCxn id="11" idx="2"/>
          </p:cNvCxnSpPr>
          <p:nvPr/>
        </p:nvCxnSpPr>
        <p:spPr>
          <a:xfrm flipV="1">
            <a:off x="5461482" y="1911188"/>
            <a:ext cx="2366004" cy="1575407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6" name="Connector: Curved 35"/>
          <p:cNvCxnSpPr>
            <a:cxnSpLocks/>
            <a:stCxn id="13" idx="3"/>
            <a:endCxn id="12" idx="0"/>
          </p:cNvCxnSpPr>
          <p:nvPr/>
        </p:nvCxnSpPr>
        <p:spPr>
          <a:xfrm>
            <a:off x="5461482" y="3486595"/>
            <a:ext cx="2366004" cy="1768854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1" name="Connector: Curved 40"/>
          <p:cNvCxnSpPr>
            <a:cxnSpLocks/>
            <a:stCxn id="13" idx="1"/>
            <a:endCxn id="10" idx="0"/>
          </p:cNvCxnSpPr>
          <p:nvPr/>
        </p:nvCxnSpPr>
        <p:spPr>
          <a:xfrm rot="10800000" flipV="1">
            <a:off x="1476510" y="3486595"/>
            <a:ext cx="2172951" cy="1768854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4" name="Connector: Curved 43"/>
          <p:cNvCxnSpPr>
            <a:cxnSpLocks/>
            <a:stCxn id="13" idx="1"/>
            <a:endCxn id="9" idx="2"/>
          </p:cNvCxnSpPr>
          <p:nvPr/>
        </p:nvCxnSpPr>
        <p:spPr>
          <a:xfrm rot="10800000">
            <a:off x="1476510" y="1899879"/>
            <a:ext cx="2172951" cy="1586717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65" name="TextBox 64"/>
          <p:cNvSpPr txBox="1"/>
          <p:nvPr/>
        </p:nvSpPr>
        <p:spPr>
          <a:xfrm>
            <a:off x="2250727" y="1258011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4808998" y="1261708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2250727" y="5504359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4808998" y="5508056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70" name="TextBox 69"/>
          <p:cNvSpPr txBox="1"/>
          <p:nvPr/>
        </p:nvSpPr>
        <p:spPr>
          <a:xfrm rot="1982270">
            <a:off x="1850616" y="2715810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1" name="TextBox 70"/>
          <p:cNvSpPr txBox="1"/>
          <p:nvPr/>
        </p:nvSpPr>
        <p:spPr>
          <a:xfrm rot="19461386">
            <a:off x="1863265" y="3939858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2" name="TextBox 71"/>
          <p:cNvSpPr txBox="1"/>
          <p:nvPr/>
        </p:nvSpPr>
        <p:spPr>
          <a:xfrm rot="19837710">
            <a:off x="6148964" y="2744274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3" name="TextBox 72"/>
          <p:cNvSpPr txBox="1"/>
          <p:nvPr/>
        </p:nvSpPr>
        <p:spPr>
          <a:xfrm rot="1942896">
            <a:off x="6148963" y="3909710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4" name="Speech Bubble: Rectangle with Corners Rounded 73"/>
          <p:cNvSpPr/>
          <p:nvPr/>
        </p:nvSpPr>
        <p:spPr>
          <a:xfrm>
            <a:off x="2469417" y="1914979"/>
            <a:ext cx="1846662" cy="715089"/>
          </a:xfrm>
          <a:prstGeom prst="wedgeRoundRectCallout">
            <a:avLst>
              <a:gd name="adj1" fmla="val 29636"/>
              <a:gd name="adj2" fmla="val 105535"/>
              <a:gd name="adj3" fmla="val 16667"/>
            </a:avLst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Calculate collision Cases</a:t>
            </a:r>
          </a:p>
        </p:txBody>
      </p:sp>
      <p:sp>
        <p:nvSpPr>
          <p:cNvPr id="75" name="Speech Bubble: Rectangle with Corners Rounded 74"/>
          <p:cNvSpPr/>
          <p:nvPr/>
        </p:nvSpPr>
        <p:spPr>
          <a:xfrm>
            <a:off x="4871231" y="1891114"/>
            <a:ext cx="1846662" cy="715089"/>
          </a:xfrm>
          <a:prstGeom prst="wedgeRoundRectCallout">
            <a:avLst>
              <a:gd name="adj1" fmla="val -45591"/>
              <a:gd name="adj2" fmla="val 107994"/>
              <a:gd name="adj3" fmla="val 16667"/>
            </a:avLst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Create Virtual</a:t>
            </a: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Roundabout</a:t>
            </a:r>
          </a:p>
        </p:txBody>
      </p:sp>
      <p:sp>
        <p:nvSpPr>
          <p:cNvPr id="76" name="Speech Bubble: Rectangle with Corners Rounded 75"/>
          <p:cNvSpPr/>
          <p:nvPr/>
        </p:nvSpPr>
        <p:spPr>
          <a:xfrm>
            <a:off x="2463815" y="4307271"/>
            <a:ext cx="1846662" cy="715089"/>
          </a:xfrm>
          <a:prstGeom prst="wedgeRoundRectCallout">
            <a:avLst>
              <a:gd name="adj1" fmla="val 44396"/>
              <a:gd name="adj2" fmla="val -96109"/>
              <a:gd name="adj3" fmla="val 16667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Send</a:t>
            </a: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Directives</a:t>
            </a:r>
          </a:p>
        </p:txBody>
      </p:sp>
      <p:sp>
        <p:nvSpPr>
          <p:cNvPr id="77" name="Speech Bubble: Rectangle with Corners Rounded 76"/>
          <p:cNvSpPr/>
          <p:nvPr/>
        </p:nvSpPr>
        <p:spPr>
          <a:xfrm>
            <a:off x="4866221" y="4307271"/>
            <a:ext cx="1846662" cy="715089"/>
          </a:xfrm>
          <a:prstGeom prst="wedgeRoundRectCallout">
            <a:avLst>
              <a:gd name="adj1" fmla="val -39877"/>
              <a:gd name="adj2" fmla="val -92420"/>
              <a:gd name="adj3" fmla="val 16667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Enforce</a:t>
            </a: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Directives</a:t>
            </a:r>
          </a:p>
        </p:txBody>
      </p:sp>
      <p:sp>
        <p:nvSpPr>
          <p:cNvPr id="78" name="Octagon 77"/>
          <p:cNvSpPr/>
          <p:nvPr/>
        </p:nvSpPr>
        <p:spPr>
          <a:xfrm>
            <a:off x="2321290" y="1722777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1</a:t>
            </a:r>
          </a:p>
        </p:txBody>
      </p:sp>
      <p:sp>
        <p:nvSpPr>
          <p:cNvPr id="79" name="Octagon 78"/>
          <p:cNvSpPr/>
          <p:nvPr/>
        </p:nvSpPr>
        <p:spPr>
          <a:xfrm>
            <a:off x="6491363" y="1665954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2</a:t>
            </a:r>
          </a:p>
        </p:txBody>
      </p:sp>
      <p:sp>
        <p:nvSpPr>
          <p:cNvPr id="80" name="Octagon 79"/>
          <p:cNvSpPr/>
          <p:nvPr/>
        </p:nvSpPr>
        <p:spPr>
          <a:xfrm>
            <a:off x="2321290" y="4758319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3</a:t>
            </a:r>
          </a:p>
        </p:txBody>
      </p:sp>
      <p:sp>
        <p:nvSpPr>
          <p:cNvPr id="81" name="Octagon 80"/>
          <p:cNvSpPr/>
          <p:nvPr/>
        </p:nvSpPr>
        <p:spPr>
          <a:xfrm>
            <a:off x="6482994" y="4766822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979610845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 </a:t>
            </a:r>
            <a:br>
              <a:rPr lang="en-US" dirty="0"/>
            </a:br>
            <a:r>
              <a:rPr lang="en-US" dirty="0"/>
              <a:t>	Cooperative separation 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5</a:t>
            </a:fld>
            <a:endParaRPr lang="en-US" dirty="0"/>
          </a:p>
        </p:txBody>
      </p:sp>
      <p:pic>
        <p:nvPicPr>
          <p:cNvPr id="8" name="ruleHeadOnMultipl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4"/>
          <a:srcRect l="22789" r="22693"/>
          <a:stretch/>
        </p:blipFill>
        <p:spPr>
          <a:xfrm>
            <a:off x="1846384" y="1225260"/>
            <a:ext cx="5460023" cy="5632740"/>
          </a:xfrm>
        </p:spPr>
      </p:pic>
    </p:spTree>
    <p:extLst>
      <p:ext uri="{BB962C8B-B14F-4D97-AF65-F5344CB8AC3E}">
        <p14:creationId xmlns:p14="http://schemas.microsoft.com/office/powerpoint/2010/main" val="5629446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0704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n-cooperative separation 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6</a:t>
            </a:fld>
            <a:endParaRPr lang="en-US" dirty="0"/>
          </a:p>
        </p:txBody>
      </p:sp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97454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5742903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980197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5748558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1050751" y="153054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1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050751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2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401728" y="154185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3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401728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4</a:t>
            </a:r>
          </a:p>
        </p:txBody>
      </p:sp>
      <p:cxnSp>
        <p:nvCxnSpPr>
          <p:cNvPr id="17" name="Straight Arrow Connector 16"/>
          <p:cNvCxnSpPr>
            <a:stCxn id="6" idx="3"/>
            <a:endCxn id="9" idx="1"/>
          </p:cNvCxnSpPr>
          <p:nvPr/>
        </p:nvCxnSpPr>
        <p:spPr>
          <a:xfrm>
            <a:off x="2156846" y="1193483"/>
            <a:ext cx="4990303" cy="5655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>
            <a:cxnSpLocks/>
            <a:stCxn id="12" idx="2"/>
            <a:endCxn id="13" idx="0"/>
          </p:cNvCxnSpPr>
          <p:nvPr/>
        </p:nvCxnSpPr>
        <p:spPr>
          <a:xfrm>
            <a:off x="1476509" y="1899878"/>
            <a:ext cx="0" cy="3355571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>
            <a:cxnSpLocks/>
            <a:stCxn id="6" idx="3"/>
            <a:endCxn id="15" idx="1"/>
          </p:cNvCxnSpPr>
          <p:nvPr/>
        </p:nvCxnSpPr>
        <p:spPr>
          <a:xfrm>
            <a:off x="2156846" y="1193483"/>
            <a:ext cx="5244882" cy="4246632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>
            <a:cxnSpLocks/>
            <a:stCxn id="15" idx="1"/>
            <a:endCxn id="6" idx="3"/>
          </p:cNvCxnSpPr>
          <p:nvPr/>
        </p:nvCxnSpPr>
        <p:spPr>
          <a:xfrm rot="10800000">
            <a:off x="2156846" y="1193483"/>
            <a:ext cx="5244882" cy="4246632"/>
          </a:xfrm>
          <a:prstGeom prst="curvedConnector3">
            <a:avLst>
              <a:gd name="adj1" fmla="val -5320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8" name="Straight Arrow Connector 24"/>
          <p:cNvCxnSpPr>
            <a:cxnSpLocks/>
            <a:stCxn id="8" idx="1"/>
            <a:endCxn id="12" idx="0"/>
          </p:cNvCxnSpPr>
          <p:nvPr/>
        </p:nvCxnSpPr>
        <p:spPr>
          <a:xfrm rot="10800000" flipH="1">
            <a:off x="796171" y="1530546"/>
            <a:ext cx="680337" cy="4431298"/>
          </a:xfrm>
          <a:prstGeom prst="curvedConnector4">
            <a:avLst>
              <a:gd name="adj1" fmla="val -33601"/>
              <a:gd name="adj2" fmla="val 103572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3" name="Straight Arrow Connector 24"/>
          <p:cNvCxnSpPr>
            <a:cxnSpLocks/>
            <a:endCxn id="12" idx="0"/>
          </p:cNvCxnSpPr>
          <p:nvPr/>
        </p:nvCxnSpPr>
        <p:spPr>
          <a:xfrm rot="10800000">
            <a:off x="1476509" y="1530546"/>
            <a:ext cx="5670642" cy="4341796"/>
          </a:xfrm>
          <a:prstGeom prst="curvedConnector4">
            <a:avLst>
              <a:gd name="adj1" fmla="val 77566"/>
              <a:gd name="adj2" fmla="val 99798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1" name="Thought Bubble: Cloud 10"/>
          <p:cNvSpPr/>
          <p:nvPr/>
        </p:nvSpPr>
        <p:spPr>
          <a:xfrm>
            <a:off x="2156846" y="2175235"/>
            <a:ext cx="5109329" cy="2248853"/>
          </a:xfrm>
          <a:prstGeom prst="cloudCallout">
            <a:avLst>
              <a:gd name="adj1" fmla="val -2765"/>
              <a:gd name="adj2" fmla="val 78139"/>
            </a:avLst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2"/>
                </a:solidFill>
              </a:rPr>
              <a:t>Consensus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1: Horizont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2: Vertic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3: Horizont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4: Vertical Separation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3711677" y="871152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2" name="TextBox 61"/>
          <p:cNvSpPr txBox="1"/>
          <p:nvPr/>
        </p:nvSpPr>
        <p:spPr>
          <a:xfrm rot="2153370">
            <a:off x="3231726" y="1804336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3" name="TextBox 62"/>
          <p:cNvSpPr txBox="1"/>
          <p:nvPr/>
        </p:nvSpPr>
        <p:spPr>
          <a:xfrm rot="16200000">
            <a:off x="916047" y="3747138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4" name="TextBox 63"/>
          <p:cNvSpPr txBox="1"/>
          <p:nvPr/>
        </p:nvSpPr>
        <p:spPr>
          <a:xfrm rot="877638">
            <a:off x="5045413" y="5316414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  <p:sp>
        <p:nvSpPr>
          <p:cNvPr id="65" name="TextBox 64"/>
          <p:cNvSpPr txBox="1"/>
          <p:nvPr/>
        </p:nvSpPr>
        <p:spPr>
          <a:xfrm rot="1944166">
            <a:off x="6250351" y="1896021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  <p:sp>
        <p:nvSpPr>
          <p:cNvPr id="66" name="TextBox 65"/>
          <p:cNvSpPr txBox="1"/>
          <p:nvPr/>
        </p:nvSpPr>
        <p:spPr>
          <a:xfrm rot="16200000">
            <a:off x="-241293" y="3747809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</p:spTree>
    <p:extLst>
      <p:ext uri="{BB962C8B-B14F-4D97-AF65-F5344CB8AC3E}">
        <p14:creationId xmlns:p14="http://schemas.microsoft.com/office/powerpoint/2010/main" val="3398261385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 </a:t>
            </a:r>
            <a:br>
              <a:rPr lang="en-US" dirty="0"/>
            </a:br>
            <a:r>
              <a:rPr lang="en-US" dirty="0"/>
              <a:t>	Non-cooperative separation scenario</a:t>
            </a:r>
          </a:p>
        </p:txBody>
      </p:sp>
      <p:pic>
        <p:nvPicPr>
          <p:cNvPr id="5" name="emergencyHeadOnMultipl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4"/>
          <a:srcRect l="4973" r="4568"/>
          <a:stretch/>
        </p:blipFill>
        <p:spPr>
          <a:xfrm>
            <a:off x="-8793" y="1163875"/>
            <a:ext cx="9144001" cy="5685333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30443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7600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formance: </a:t>
            </a:r>
            <a:br>
              <a:rPr lang="en-US" dirty="0"/>
            </a:br>
            <a:r>
              <a:rPr lang="en-US" dirty="0"/>
              <a:t>	Non-cooperative separation scenario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0" y="1349317"/>
            <a:ext cx="9144001" cy="515389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598515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get your map, know the restaurant location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1326524" y="4804005"/>
            <a:ext cx="2207818" cy="1021556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know where is Restaurant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(Rumors)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30352" y="1837739"/>
            <a:ext cx="4510818" cy="1021556"/>
          </a:xfrm>
          <a:prstGeom prst="wedgeRoundRectCallout">
            <a:avLst>
              <a:gd name="adj1" fmla="val 70218"/>
              <a:gd name="adj2" fmla="val 20266"/>
              <a:gd name="adj3" fmla="val 16667"/>
            </a:avLst>
          </a:prstGeom>
          <a:solidFill>
            <a:schemeClr val="bg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can sense some of your surroundings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(Field of Vision)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764851" y="1049009"/>
            <a:ext cx="4041820" cy="408623"/>
          </a:xfrm>
          <a:prstGeom prst="wedgeRoundRectCallout">
            <a:avLst>
              <a:gd name="adj1" fmla="val 134852"/>
              <a:gd name="adj2" fmla="val -7470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are in front of your Home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5318975" y="4343583"/>
            <a:ext cx="3318613" cy="1940957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2] Evolving world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. You are obtaining more knowledge as you move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. You need to make Decisions when you reach your FOV boundary</a:t>
            </a:r>
          </a:p>
        </p:txBody>
      </p:sp>
    </p:spTree>
    <p:extLst>
      <p:ext uri="{BB962C8B-B14F-4D97-AF65-F5344CB8AC3E}">
        <p14:creationId xmlns:p14="http://schemas.microsoft.com/office/powerpoint/2010/main" val="4270157307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9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9690" y="310295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9690" y="549175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ounded Rectangle 15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he aircraft being overtaken has the right of the way</a:t>
            </a:r>
          </a:p>
        </p:txBody>
      </p:sp>
      <p:sp>
        <p:nvSpPr>
          <p:cNvPr id="11" name="Freeform 14"/>
          <p:cNvSpPr/>
          <p:nvPr/>
        </p:nvSpPr>
        <p:spPr>
          <a:xfrm>
            <a:off x="2440725" y="914400"/>
            <a:ext cx="284546" cy="600635"/>
          </a:xfrm>
          <a:custGeom>
            <a:avLst/>
            <a:gdLst>
              <a:gd name="connsiteX0" fmla="*/ 284546 w 284546"/>
              <a:gd name="connsiteY0" fmla="*/ 600635 h 600635"/>
              <a:gd name="connsiteX1" fmla="*/ 96287 w 284546"/>
              <a:gd name="connsiteY1" fmla="*/ 510988 h 600635"/>
              <a:gd name="connsiteX2" fmla="*/ 6640 w 284546"/>
              <a:gd name="connsiteY2" fmla="*/ 385482 h 600635"/>
              <a:gd name="connsiteX3" fmla="*/ 6640 w 284546"/>
              <a:gd name="connsiteY3" fmla="*/ 0 h 600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546" h="600635">
                <a:moveTo>
                  <a:pt x="284546" y="600635"/>
                </a:moveTo>
                <a:cubicBezTo>
                  <a:pt x="213575" y="573741"/>
                  <a:pt x="142605" y="546847"/>
                  <a:pt x="96287" y="510988"/>
                </a:cubicBezTo>
                <a:cubicBezTo>
                  <a:pt x="49969" y="475129"/>
                  <a:pt x="21581" y="470647"/>
                  <a:pt x="6640" y="385482"/>
                </a:cubicBezTo>
                <a:cubicBezTo>
                  <a:pt x="-8301" y="300317"/>
                  <a:pt x="6640" y="0"/>
                  <a:pt x="6640" y="0"/>
                </a:cubicBezTo>
              </a:path>
            </a:pathLst>
          </a:cu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Oval 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862764151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0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0725" y="256862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14"/>
          <p:cNvSpPr/>
          <p:nvPr/>
        </p:nvSpPr>
        <p:spPr>
          <a:xfrm>
            <a:off x="2440725" y="914400"/>
            <a:ext cx="284546" cy="600635"/>
          </a:xfrm>
          <a:custGeom>
            <a:avLst/>
            <a:gdLst>
              <a:gd name="connsiteX0" fmla="*/ 284546 w 284546"/>
              <a:gd name="connsiteY0" fmla="*/ 600635 h 600635"/>
              <a:gd name="connsiteX1" fmla="*/ 96287 w 284546"/>
              <a:gd name="connsiteY1" fmla="*/ 510988 h 600635"/>
              <a:gd name="connsiteX2" fmla="*/ 6640 w 284546"/>
              <a:gd name="connsiteY2" fmla="*/ 385482 h 600635"/>
              <a:gd name="connsiteX3" fmla="*/ 6640 w 284546"/>
              <a:gd name="connsiteY3" fmla="*/ 0 h 600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546" h="600635">
                <a:moveTo>
                  <a:pt x="284546" y="600635"/>
                </a:moveTo>
                <a:cubicBezTo>
                  <a:pt x="213575" y="573741"/>
                  <a:pt x="142605" y="546847"/>
                  <a:pt x="96287" y="510988"/>
                </a:cubicBezTo>
                <a:cubicBezTo>
                  <a:pt x="49969" y="475129"/>
                  <a:pt x="21581" y="470647"/>
                  <a:pt x="6640" y="385482"/>
                </a:cubicBezTo>
                <a:cubicBezTo>
                  <a:pt x="-8301" y="300317"/>
                  <a:pt x="6640" y="0"/>
                  <a:pt x="6640" y="0"/>
                </a:cubicBezTo>
              </a:path>
            </a:pathLst>
          </a:cu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8852442">
            <a:off x="4529766" y="237426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reeform 8"/>
          <p:cNvSpPr/>
          <p:nvPr/>
        </p:nvSpPr>
        <p:spPr>
          <a:xfrm>
            <a:off x="2435225" y="3114675"/>
            <a:ext cx="2912142" cy="2400300"/>
          </a:xfrm>
          <a:custGeom>
            <a:avLst/>
            <a:gdLst>
              <a:gd name="connsiteX0" fmla="*/ 0 w 2912142"/>
              <a:gd name="connsiteY0" fmla="*/ 2400300 h 2400300"/>
              <a:gd name="connsiteX1" fmla="*/ 1022350 w 2912142"/>
              <a:gd name="connsiteY1" fmla="*/ 1879600 h 2400300"/>
              <a:gd name="connsiteX2" fmla="*/ 1739900 w 2912142"/>
              <a:gd name="connsiteY2" fmla="*/ 1473200 h 2400300"/>
              <a:gd name="connsiteX3" fmla="*/ 2197100 w 2912142"/>
              <a:gd name="connsiteY3" fmla="*/ 1184275 h 2400300"/>
              <a:gd name="connsiteX4" fmla="*/ 2492375 w 2912142"/>
              <a:gd name="connsiteY4" fmla="*/ 955675 h 2400300"/>
              <a:gd name="connsiteX5" fmla="*/ 2768600 w 2912142"/>
              <a:gd name="connsiteY5" fmla="*/ 663575 h 2400300"/>
              <a:gd name="connsiteX6" fmla="*/ 2886075 w 2912142"/>
              <a:gd name="connsiteY6" fmla="*/ 450850 h 2400300"/>
              <a:gd name="connsiteX7" fmla="*/ 2908300 w 2912142"/>
              <a:gd name="connsiteY7" fmla="*/ 165100 h 2400300"/>
              <a:gd name="connsiteX8" fmla="*/ 2828925 w 2912142"/>
              <a:gd name="connsiteY8" fmla="*/ 0 h 2400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12142" h="2400300">
                <a:moveTo>
                  <a:pt x="0" y="2400300"/>
                </a:moveTo>
                <a:lnTo>
                  <a:pt x="1022350" y="1879600"/>
                </a:lnTo>
                <a:cubicBezTo>
                  <a:pt x="1312333" y="1725083"/>
                  <a:pt x="1544108" y="1589088"/>
                  <a:pt x="1739900" y="1473200"/>
                </a:cubicBezTo>
                <a:cubicBezTo>
                  <a:pt x="1935692" y="1357312"/>
                  <a:pt x="2071688" y="1270529"/>
                  <a:pt x="2197100" y="1184275"/>
                </a:cubicBezTo>
                <a:cubicBezTo>
                  <a:pt x="2322512" y="1098021"/>
                  <a:pt x="2397125" y="1042458"/>
                  <a:pt x="2492375" y="955675"/>
                </a:cubicBezTo>
                <a:cubicBezTo>
                  <a:pt x="2587625" y="868892"/>
                  <a:pt x="2702983" y="747712"/>
                  <a:pt x="2768600" y="663575"/>
                </a:cubicBezTo>
                <a:cubicBezTo>
                  <a:pt x="2834217" y="579438"/>
                  <a:pt x="2862792" y="533929"/>
                  <a:pt x="2886075" y="450850"/>
                </a:cubicBezTo>
                <a:cubicBezTo>
                  <a:pt x="2909358" y="367771"/>
                  <a:pt x="2917825" y="240242"/>
                  <a:pt x="2908300" y="165100"/>
                </a:cubicBezTo>
                <a:cubicBezTo>
                  <a:pt x="2898775" y="89958"/>
                  <a:pt x="2831042" y="30692"/>
                  <a:pt x="2828925" y="0"/>
                </a:cubicBezTo>
              </a:path>
            </a:pathLst>
          </a:cu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ounded Rectangle 15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 is executed from right</a:t>
            </a:r>
          </a:p>
        </p:txBody>
      </p:sp>
      <p:sp>
        <p:nvSpPr>
          <p:cNvPr id="13" name="Oval 1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116381576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– Leave Cond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1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7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soli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11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 rule may apply only when well clear condition is guaranteed</a:t>
            </a:r>
          </a:p>
        </p:txBody>
      </p:sp>
      <p:cxnSp>
        <p:nvCxnSpPr>
          <p:cNvPr id="10" name="Straight Connector 9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11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0725" y="256862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06331" y="834041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Oval 1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293875051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</a:t>
            </a:r>
            <a:br>
              <a:rPr lang="en-US" dirty="0"/>
            </a:br>
            <a:r>
              <a:rPr lang="en-US" dirty="0"/>
              <a:t>	 Overtake Maneuver </a:t>
            </a:r>
          </a:p>
        </p:txBody>
      </p:sp>
      <p:pic>
        <p:nvPicPr>
          <p:cNvPr id="5" name="ruleOvertake2x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4"/>
          <a:srcRect t="22273" b="22491"/>
          <a:stretch/>
        </p:blipFill>
        <p:spPr>
          <a:xfrm>
            <a:off x="0" y="2247899"/>
            <a:ext cx="9144000" cy="2840737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9791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4683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fferent speed:</a:t>
            </a:r>
            <a:br>
              <a:rPr lang="en-US" dirty="0"/>
            </a:br>
            <a:r>
              <a:rPr lang="en-US" dirty="0"/>
              <a:t>	 Overtake Maneuver 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0" y="1790841"/>
            <a:ext cx="9144001" cy="4392913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8162390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&amp;A Ses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4</a:t>
            </a:fld>
            <a:endParaRPr lang="en-US" dirty="0"/>
          </a:p>
        </p:txBody>
      </p:sp>
      <p:pic>
        <p:nvPicPr>
          <p:cNvPr id="5" name="Picture 2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856420"/>
            <a:ext cx="2857500" cy="2628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6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4775" y="832593"/>
            <a:ext cx="4819650" cy="2886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3694841"/>
            <a:ext cx="4347991" cy="25399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8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0754" y="3865490"/>
            <a:ext cx="3236183" cy="21574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394842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 get to the first intersection, now what ?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5009882" y="1856022"/>
            <a:ext cx="914400" cy="408623"/>
          </a:xfrm>
          <a:prstGeom prst="wedgeRoundRectCallout">
            <a:avLst>
              <a:gd name="adj1" fmla="val 69308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1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009882" y="1356220"/>
            <a:ext cx="914400" cy="408623"/>
          </a:xfrm>
          <a:prstGeom prst="wedgeRoundRectCallout">
            <a:avLst>
              <a:gd name="adj1" fmla="val 84801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2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5954334" y="947597"/>
            <a:ext cx="914400" cy="408623"/>
          </a:xfrm>
          <a:prstGeom prst="wedgeRoundRectCallout">
            <a:avLst>
              <a:gd name="adj1" fmla="val 66491"/>
              <a:gd name="adj2" fmla="val 213785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3</a:t>
            </a:r>
          </a:p>
        </p:txBody>
      </p:sp>
      <p:sp>
        <p:nvSpPr>
          <p:cNvPr id="9" name="Speech Bubble: Rectangle with Corners Rounded 8"/>
          <p:cNvSpPr/>
          <p:nvPr/>
        </p:nvSpPr>
        <p:spPr>
          <a:xfrm>
            <a:off x="1326524" y="4804005"/>
            <a:ext cx="2207818" cy="1021556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know where is Restaurant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(Rumors)</a:t>
            </a: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3420250" y="2457744"/>
            <a:ext cx="2207818" cy="408623"/>
          </a:xfrm>
          <a:prstGeom prst="wedgeRoundRectCallout">
            <a:avLst>
              <a:gd name="adj1" fmla="val 85350"/>
              <a:gd name="adj2" fmla="val -7302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</a:t>
            </a:r>
          </a:p>
        </p:txBody>
      </p:sp>
      <p:sp>
        <p:nvSpPr>
          <p:cNvPr id="11" name="Speech Bubble: Rectangle with Corners Rounded 10"/>
          <p:cNvSpPr/>
          <p:nvPr/>
        </p:nvSpPr>
        <p:spPr>
          <a:xfrm>
            <a:off x="6429770" y="3116268"/>
            <a:ext cx="2207818" cy="408623"/>
          </a:xfrm>
          <a:prstGeom prst="wedgeRoundRectCallout">
            <a:avLst>
              <a:gd name="adj1" fmla="val -21983"/>
              <a:gd name="adj2" fmla="val -85633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ssed trajectory</a:t>
            </a:r>
          </a:p>
        </p:txBody>
      </p:sp>
      <p:sp>
        <p:nvSpPr>
          <p:cNvPr id="12" name="Rectangle: Rounded Corners 11"/>
          <p:cNvSpPr/>
          <p:nvPr/>
        </p:nvSpPr>
        <p:spPr>
          <a:xfrm>
            <a:off x="530352" y="3247430"/>
            <a:ext cx="5695674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2] Evolving world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 – point of safe return (I can go home), where I do new sensor scan and decide follow up trajectory</a:t>
            </a:r>
          </a:p>
        </p:txBody>
      </p:sp>
      <p:sp>
        <p:nvSpPr>
          <p:cNvPr id="13" name="Speech Bubble: Rectangle with Corners Rounded 12"/>
          <p:cNvSpPr/>
          <p:nvPr/>
        </p:nvSpPr>
        <p:spPr>
          <a:xfrm>
            <a:off x="5862349" y="4933395"/>
            <a:ext cx="2775239" cy="1328023"/>
          </a:xfrm>
          <a:prstGeom prst="wedgeRoundRectCallout">
            <a:avLst>
              <a:gd name="adj1" fmla="val -88650"/>
              <a:gd name="adj2" fmla="val -27641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will probably apply some sort of COST FUNCTION in your decision</a:t>
            </a:r>
          </a:p>
        </p:txBody>
      </p:sp>
    </p:spTree>
    <p:extLst>
      <p:ext uri="{BB962C8B-B14F-4D97-AF65-F5344CB8AC3E}">
        <p14:creationId xmlns:p14="http://schemas.microsoft.com/office/powerpoint/2010/main" val="227754319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ok around, get know to your surroundings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530352" y="1233690"/>
            <a:ext cx="4423292" cy="1021556"/>
          </a:xfrm>
          <a:prstGeom prst="wedgeRoundRectCallout">
            <a:avLst>
              <a:gd name="adj1" fmla="val 57543"/>
              <a:gd name="adj2" fmla="val 86633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his patch can get me closer to Restaurant,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(Other sightings NOT so useful)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1326524" y="4804005"/>
            <a:ext cx="2207818" cy="1021556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know where is Restaurant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(Rumors)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5363475" y="4650051"/>
            <a:ext cx="3274113" cy="1634490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2] Evolving world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Known World – Pieces of observations which are useful for the mission goal</a:t>
            </a:r>
          </a:p>
        </p:txBody>
      </p:sp>
    </p:spTree>
    <p:extLst>
      <p:ext uri="{BB962C8B-B14F-4D97-AF65-F5344CB8AC3E}">
        <p14:creationId xmlns:p14="http://schemas.microsoft.com/office/powerpoint/2010/main" val="340854334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alk a little more, get closer to the Restaura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292440" y="3973747"/>
            <a:ext cx="914400" cy="408623"/>
          </a:xfrm>
          <a:prstGeom prst="wedgeRoundRectCallout">
            <a:avLst>
              <a:gd name="adj1" fmla="val 122829"/>
              <a:gd name="adj2" fmla="val -22598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1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2292440" y="3292631"/>
            <a:ext cx="914400" cy="408623"/>
          </a:xfrm>
          <a:prstGeom prst="wedgeRoundRectCallout">
            <a:avLst>
              <a:gd name="adj1" fmla="val 84801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2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2863232" y="2640472"/>
            <a:ext cx="914400" cy="408623"/>
          </a:xfrm>
          <a:prstGeom prst="wedgeRoundRectCallout">
            <a:avLst>
              <a:gd name="adj1" fmla="val 34097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3</a:t>
            </a:r>
          </a:p>
        </p:txBody>
      </p:sp>
      <p:sp>
        <p:nvSpPr>
          <p:cNvPr id="9" name="Speech Bubble: Rectangle with Corners Rounded 8"/>
          <p:cNvSpPr/>
          <p:nvPr/>
        </p:nvSpPr>
        <p:spPr>
          <a:xfrm>
            <a:off x="1326524" y="4804005"/>
            <a:ext cx="2207818" cy="1021556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know where is Restaurant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(Rumors)</a:t>
            </a: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5628068" y="3709946"/>
            <a:ext cx="2207818" cy="408623"/>
          </a:xfrm>
          <a:prstGeom prst="wedgeRoundRectCallout">
            <a:avLst>
              <a:gd name="adj1" fmla="val -130482"/>
              <a:gd name="adj2" fmla="val -16294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</a:t>
            </a:r>
          </a:p>
        </p:txBody>
      </p:sp>
      <p:sp>
        <p:nvSpPr>
          <p:cNvPr id="11" name="Speech Bubble: Rectangle with Corners Rounded 10"/>
          <p:cNvSpPr/>
          <p:nvPr/>
        </p:nvSpPr>
        <p:spPr>
          <a:xfrm>
            <a:off x="5628068" y="3101666"/>
            <a:ext cx="2207818" cy="408623"/>
          </a:xfrm>
          <a:prstGeom prst="wedgeRoundRectCallout">
            <a:avLst>
              <a:gd name="adj1" fmla="val -63400"/>
              <a:gd name="adj2" fmla="val -113605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ssed trajectory</a:t>
            </a:r>
          </a:p>
        </p:txBody>
      </p:sp>
      <p:sp>
        <p:nvSpPr>
          <p:cNvPr id="12" name="Rectangle: Rounded Corners 11"/>
          <p:cNvSpPr/>
          <p:nvPr/>
        </p:nvSpPr>
        <p:spPr>
          <a:xfrm>
            <a:off x="530352" y="849690"/>
            <a:ext cx="4582561" cy="715089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2] Evolving world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inse and repeat the previous strategy</a:t>
            </a:r>
          </a:p>
        </p:txBody>
      </p:sp>
    </p:spTree>
    <p:extLst>
      <p:ext uri="{BB962C8B-B14F-4D97-AF65-F5344CB8AC3E}">
        <p14:creationId xmlns:p14="http://schemas.microsoft.com/office/powerpoint/2010/main" val="269425890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w Gentleman can see the Restaura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047874" y="5336740"/>
            <a:ext cx="2133037" cy="715089"/>
          </a:xfrm>
          <a:prstGeom prst="wedgeRoundRectCallout">
            <a:avLst>
              <a:gd name="adj1" fmla="val 58592"/>
              <a:gd name="adj2" fmla="val -47543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 can see the way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o the Restaurant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705341" y="4825962"/>
            <a:ext cx="2207818" cy="1021556"/>
          </a:xfrm>
          <a:prstGeom prst="wedgeRoundRectCallout">
            <a:avLst>
              <a:gd name="adj1" fmla="val -101899"/>
              <a:gd name="adj2" fmla="val 261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know where is Restaurant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(Rumors)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443484" y="854755"/>
            <a:ext cx="3927348" cy="1021556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2] Evolving world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ow just walk down to the street and get to the fine Restaurant</a:t>
            </a:r>
          </a:p>
        </p:txBody>
      </p:sp>
    </p:spTree>
    <p:extLst>
      <p:ext uri="{BB962C8B-B14F-4D97-AF65-F5344CB8AC3E}">
        <p14:creationId xmlns:p14="http://schemas.microsoft.com/office/powerpoint/2010/main" val="41831703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heme/theme1.xml><?xml version="1.0" encoding="utf-8"?>
<a:theme xmlns:a="http://schemas.openxmlformats.org/drawingml/2006/main" name="2_HON_Honeywell PPT Template V44 potx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rgbClr val="7F7F7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423D6DD9-61DA-4C06-A2ED-03F7009AEFDE}"/>
    </a:ext>
  </a:extLst>
</a:theme>
</file>

<file path=ppt/theme/theme2.xml><?xml version="1.0" encoding="utf-8"?>
<a:theme xmlns:a="http://schemas.openxmlformats.org/drawingml/2006/main" name="Honeywell Theme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2700"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spAutoFit/>
      </a:bodyPr>
      <a:lstStyle>
        <a:defPPr algn="ctr">
          <a:defRPr dirty="0" smtClean="0">
            <a:solidFill>
              <a:schemeClr val="accent2"/>
            </a:solidFill>
          </a:defRPr>
        </a:defPPr>
      </a:lstStyle>
      <a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991310B5-91FE-40D2-9F2F-6536330E1248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/>
</p:properties>
</file>

<file path=customXml/item2.xml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EB125E098E7F49A0205A16AC239CE8" ma:contentTypeVersion="0" ma:contentTypeDescription="Create a new document." ma:contentTypeScope="" ma:versionID="73d8c0722a46478c40824ebff9961632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0C9905A-CBD0-4539-91F7-7758145DCB1F}">
  <ds:schemaRefs>
    <ds:schemaRef ds:uri="http://schemas.microsoft.com/office/2006/documentManagement/types"/>
    <ds:schemaRef ds:uri="http://purl.org/dc/elements/1.1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purl.org/dc/terms/"/>
    <ds:schemaRef ds:uri="http://schemas.microsoft.com/office/2006/metadata/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5F2573CA-0043-4396-85E7-C5DDDFB28E31}">
  <ds:schemaRefs>
    <ds:schemaRef ds:uri="http://www.w3.org/2001/XMLSchema"/>
    <ds:schemaRef ds:uri="http://www.boldonjames.com/2008/01/sie/internal/label"/>
  </ds:schemaRefs>
</ds:datastoreItem>
</file>

<file path=customXml/itemProps3.xml><?xml version="1.0" encoding="utf-8"?>
<ds:datastoreItem xmlns:ds="http://schemas.openxmlformats.org/officeDocument/2006/customXml" ds:itemID="{9A711268-4532-4FB9-8196-23D231793AA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CProjects</Template>
  <TotalTime>2472</TotalTime>
  <Words>1846</Words>
  <Application>Microsoft Office PowerPoint</Application>
  <PresentationFormat>On-screen Show (4:3)</PresentationFormat>
  <Paragraphs>521</Paragraphs>
  <Slides>55</Slides>
  <Notes>13</Notes>
  <HiddenSlides>0</HiddenSlides>
  <MMClips>7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5</vt:i4>
      </vt:variant>
    </vt:vector>
  </HeadingPairs>
  <TitlesOfParts>
    <vt:vector size="67" baseType="lpstr">
      <vt:lpstr>Arial</vt:lpstr>
      <vt:lpstr>Calibri</vt:lpstr>
      <vt:lpstr>Cambria Math</vt:lpstr>
      <vt:lpstr>Courier New</vt:lpstr>
      <vt:lpstr>Helvetica 55 Roman</vt:lpstr>
      <vt:lpstr>Helvetica Neue</vt:lpstr>
      <vt:lpstr>HelveticaNeue BoldCond</vt:lpstr>
      <vt:lpstr>HelveticaNeue MediumCond</vt:lpstr>
      <vt:lpstr>Wingdings</vt:lpstr>
      <vt:lpstr>2_HON_Honeywell PPT Template V44 potx</vt:lpstr>
      <vt:lpstr>Honeywell Theme</vt:lpstr>
      <vt:lpstr>think-cell Slide</vt:lpstr>
      <vt:lpstr>PowerPoint Presentation</vt:lpstr>
      <vt:lpstr>PowerPoint Presentation</vt:lpstr>
      <vt:lpstr>How to get to the fine restaurant ?</vt:lpstr>
      <vt:lpstr>No problem, I know a map of my surroundings</vt:lpstr>
      <vt:lpstr>Forget your map, know the restaurant location</vt:lpstr>
      <vt:lpstr>I get to the first intersection, now what ?</vt:lpstr>
      <vt:lpstr>Look around, get know to your surroundings</vt:lpstr>
      <vt:lpstr>Walk a little more, get closer to the Restaurant</vt:lpstr>
      <vt:lpstr>Now Gentleman can see the Restaurant</vt:lpstr>
      <vt:lpstr>Finally enjoy a Pint with my friends</vt:lpstr>
      <vt:lpstr>You are NOT alone on the streets !</vt:lpstr>
      <vt:lpstr>Multiple source of information – Data Fusion</vt:lpstr>
      <vt:lpstr>Vigilantes &amp; Grannies – Static restriction areas</vt:lpstr>
      <vt:lpstr>Try to avoid static restrictions areas ! </vt:lpstr>
      <vt:lpstr>How about weather ?</vt:lpstr>
      <vt:lpstr>Rather get caught, than catching cold …</vt:lpstr>
      <vt:lpstr>Stick to the rules !</vt:lpstr>
      <vt:lpstr>Obstacle avoidance framework</vt:lpstr>
      <vt:lpstr>Vehicle control</vt:lpstr>
      <vt:lpstr>Movement Automaton </vt:lpstr>
      <vt:lpstr>Reach set estimation</vt:lpstr>
      <vt:lpstr>Reach set -Trajectory set &amp; Graph</vt:lpstr>
      <vt:lpstr>Mission plan</vt:lpstr>
      <vt:lpstr>ADS-B</vt:lpstr>
      <vt:lpstr>LiDAR</vt:lpstr>
      <vt:lpstr>Obstacle Map</vt:lpstr>
      <vt:lpstr>Avoidance Grid</vt:lpstr>
      <vt:lpstr>PowerPoint Presentation</vt:lpstr>
      <vt:lpstr>PowerPoint Presentation</vt:lpstr>
      <vt:lpstr>PowerPoint Presentation</vt:lpstr>
      <vt:lpstr>PowerPoint Presentation</vt:lpstr>
      <vt:lpstr>Example:  Simple maze</vt:lpstr>
      <vt:lpstr>Example:  Storm</vt:lpstr>
      <vt:lpstr>Rules of the Air Introduction</vt:lpstr>
      <vt:lpstr>How is Collision Case resolved by UTM</vt:lpstr>
      <vt:lpstr>Rule Engine Architecture</vt:lpstr>
      <vt:lpstr>Rule Engine Setup</vt:lpstr>
      <vt:lpstr>Converging Maneuver - Trigger</vt:lpstr>
      <vt:lpstr>Converging Maneuver - Resolution</vt:lpstr>
      <vt:lpstr>Converging Maneuver – Leave condition</vt:lpstr>
      <vt:lpstr>Example:  Converging Manuever</vt:lpstr>
      <vt:lpstr>Head On Approach - Trigger</vt:lpstr>
      <vt:lpstr>Head On Approach - Resolution</vt:lpstr>
      <vt:lpstr>Example:  Head On Approach</vt:lpstr>
      <vt:lpstr>Cooperative separation scenario</vt:lpstr>
      <vt:lpstr>Example:   Cooperative separation scenario</vt:lpstr>
      <vt:lpstr>Non-cooperative separation scenario</vt:lpstr>
      <vt:lpstr>Example:   Non-cooperative separation scenario</vt:lpstr>
      <vt:lpstr>Performance:   Non-cooperative separation scenario</vt:lpstr>
      <vt:lpstr>Overtake Maneuver - Trigger</vt:lpstr>
      <vt:lpstr>Overtake Maneuver - Resolution</vt:lpstr>
      <vt:lpstr>Overtake Maneuver – Leave Condition</vt:lpstr>
      <vt:lpstr>Example:   Overtake Maneuver </vt:lpstr>
      <vt:lpstr>Different speed:   Overtake Maneuver </vt:lpstr>
      <vt:lpstr>Q&amp;A Session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omola, Alojz</dc:creator>
  <cp:lastModifiedBy>Gomola, Alojz (Alojz Gomola)</cp:lastModifiedBy>
  <cp:revision>148</cp:revision>
  <cp:lastPrinted>2015-07-29T21:30:37Z</cp:lastPrinted>
  <dcterms:created xsi:type="dcterms:W3CDTF">2017-09-21T08:49:16Z</dcterms:created>
  <dcterms:modified xsi:type="dcterms:W3CDTF">2018-08-22T09:25:02Z</dcterms:modified>
  <cp:contentStatus>Draft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ndexRef">
    <vt:lpwstr>32119aae-57f2-4d7d-a307-88f2055e1be6</vt:lpwstr>
  </property>
  <property fmtid="{D5CDD505-2E9C-101B-9397-08002B2CF9AE}" pid="3" name="bjSaver">
    <vt:lpwstr>C6yyvslE/cipFLfbT8VtR7D11cRej5tm </vt:lpwstr>
  </property>
  <property fmtid="{D5CDD505-2E9C-101B-9397-08002B2CF9AE}" pid="4" name="bjDocumentLabelXML">
    <vt:lpwstr>&lt;?xml version="1.0" encoding="us-ascii"?&gt;&lt;sisl xmlns:xsi="http://www.w3.org/2001/XMLSchema-instance" xmlns:xsd="http://www.w3.org/2001/XMLSchema" sislVersion="0" policy="bf276872-af07-4968-a71d-1c83e80bd0bf" xmlns="http://www.boldonjames.com/2008/01/sie/i</vt:lpwstr>
  </property>
  <property fmtid="{D5CDD505-2E9C-101B-9397-08002B2CF9AE}" pid="5" name="bjDocumentLabelXML-0">
    <vt:lpwstr>nternal/label"&gt;&lt;element uid="id_protectivemarking_protect" value="" /&gt;&lt;/sisl&gt;</vt:lpwstr>
  </property>
  <property fmtid="{D5CDD505-2E9C-101B-9397-08002B2CF9AE}" pid="6" name="bjDocumentSecurityLabel">
    <vt:lpwstr>Honeywell Internal</vt:lpwstr>
  </property>
  <property fmtid="{D5CDD505-2E9C-101B-9397-08002B2CF9AE}" pid="7" name="BJClassification">
    <vt:lpwstr>Honeywell Internal</vt:lpwstr>
  </property>
</Properties>
</file>